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5" r:id="rId1"/>
    <p:sldMasterId id="2147483853" r:id="rId2"/>
    <p:sldMasterId id="2147483994" r:id="rId3"/>
  </p:sldMasterIdLst>
  <p:notesMasterIdLst>
    <p:notesMasterId r:id="rId51"/>
  </p:notesMasterIdLst>
  <p:handoutMasterIdLst>
    <p:handoutMasterId r:id="rId52"/>
  </p:handoutMasterIdLst>
  <p:sldIdLst>
    <p:sldId id="256" r:id="rId4"/>
    <p:sldId id="290" r:id="rId5"/>
    <p:sldId id="453" r:id="rId6"/>
    <p:sldId id="351" r:id="rId7"/>
    <p:sldId id="353" r:id="rId8"/>
    <p:sldId id="273" r:id="rId9"/>
    <p:sldId id="358" r:id="rId10"/>
    <p:sldId id="449" r:id="rId11"/>
    <p:sldId id="450" r:id="rId12"/>
    <p:sldId id="452" r:id="rId13"/>
    <p:sldId id="258" r:id="rId14"/>
    <p:sldId id="261" r:id="rId15"/>
    <p:sldId id="454" r:id="rId16"/>
    <p:sldId id="293" r:id="rId17"/>
    <p:sldId id="294" r:id="rId18"/>
    <p:sldId id="295" r:id="rId19"/>
    <p:sldId id="276" r:id="rId20"/>
    <p:sldId id="282" r:id="rId21"/>
    <p:sldId id="328" r:id="rId22"/>
    <p:sldId id="329" r:id="rId23"/>
    <p:sldId id="324" r:id="rId24"/>
    <p:sldId id="461" r:id="rId25"/>
    <p:sldId id="465" r:id="rId26"/>
    <p:sldId id="466" r:id="rId27"/>
    <p:sldId id="467" r:id="rId28"/>
    <p:sldId id="468" r:id="rId29"/>
    <p:sldId id="469" r:id="rId30"/>
    <p:sldId id="470" r:id="rId31"/>
    <p:sldId id="471" r:id="rId32"/>
    <p:sldId id="472" r:id="rId33"/>
    <p:sldId id="474" r:id="rId34"/>
    <p:sldId id="303" r:id="rId35"/>
    <p:sldId id="305" r:id="rId36"/>
    <p:sldId id="403" r:id="rId37"/>
    <p:sldId id="306" r:id="rId38"/>
    <p:sldId id="409" r:id="rId39"/>
    <p:sldId id="457" r:id="rId40"/>
    <p:sldId id="458" r:id="rId41"/>
    <p:sldId id="459" r:id="rId42"/>
    <p:sldId id="455" r:id="rId43"/>
    <p:sldId id="456" r:id="rId44"/>
    <p:sldId id="460" r:id="rId45"/>
    <p:sldId id="463" r:id="rId46"/>
    <p:sldId id="448" r:id="rId47"/>
    <p:sldId id="462" r:id="rId48"/>
    <p:sldId id="287" r:id="rId49"/>
    <p:sldId id="301" r:id="rId5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AAAA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691" autoAdjust="0"/>
    <p:restoredTop sz="88279" autoAdjust="0"/>
  </p:normalViewPr>
  <p:slideViewPr>
    <p:cSldViewPr snapToGrid="0" snapToObjects="1" showGuides="1">
      <p:cViewPr varScale="1">
        <p:scale>
          <a:sx n="65" d="100"/>
          <a:sy n="65" d="100"/>
        </p:scale>
        <p:origin x="666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75" d="100"/>
        <a:sy n="1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tableStyles" Target="tableStyles.xml"/><Relationship Id="rId8" Type="http://schemas.openxmlformats.org/officeDocument/2006/relationships/slide" Target="slides/slide5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ellphon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63</c:f>
              <c:numCache>
                <c:formatCode>m/d/yyyy</c:formatCode>
                <c:ptCount val="62"/>
                <c:pt idx="0">
                  <c:v>37556</c:v>
                </c:pt>
                <c:pt idx="1">
                  <c:v>38321</c:v>
                </c:pt>
                <c:pt idx="2">
                  <c:v>38392</c:v>
                </c:pt>
                <c:pt idx="3">
                  <c:v>38717</c:v>
                </c:pt>
                <c:pt idx="4">
                  <c:v>38804</c:v>
                </c:pt>
                <c:pt idx="5">
                  <c:v>38813</c:v>
                </c:pt>
                <c:pt idx="6">
                  <c:v>39330</c:v>
                </c:pt>
                <c:pt idx="7">
                  <c:v>39418</c:v>
                </c:pt>
                <c:pt idx="8">
                  <c:v>39460</c:v>
                </c:pt>
                <c:pt idx="9">
                  <c:v>39579</c:v>
                </c:pt>
                <c:pt idx="10">
                  <c:v>39670</c:v>
                </c:pt>
                <c:pt idx="11">
                  <c:v>39802</c:v>
                </c:pt>
                <c:pt idx="12">
                  <c:v>39840</c:v>
                </c:pt>
                <c:pt idx="13">
                  <c:v>39922</c:v>
                </c:pt>
                <c:pt idx="14">
                  <c:v>40070</c:v>
                </c:pt>
                <c:pt idx="15">
                  <c:v>40174</c:v>
                </c:pt>
                <c:pt idx="16">
                  <c:v>40197</c:v>
                </c:pt>
                <c:pt idx="17">
                  <c:v>40328</c:v>
                </c:pt>
                <c:pt idx="18">
                  <c:v>40434</c:v>
                </c:pt>
                <c:pt idx="19">
                  <c:v>40483</c:v>
                </c:pt>
                <c:pt idx="20">
                  <c:v>40506</c:v>
                </c:pt>
                <c:pt idx="21">
                  <c:v>40510</c:v>
                </c:pt>
                <c:pt idx="22">
                  <c:v>40533</c:v>
                </c:pt>
                <c:pt idx="23">
                  <c:v>40622</c:v>
                </c:pt>
                <c:pt idx="24">
                  <c:v>40685</c:v>
                </c:pt>
                <c:pt idx="25">
                  <c:v>40781</c:v>
                </c:pt>
                <c:pt idx="26">
                  <c:v>40898</c:v>
                </c:pt>
                <c:pt idx="27">
                  <c:v>40916</c:v>
                </c:pt>
                <c:pt idx="28">
                  <c:v>40923</c:v>
                </c:pt>
                <c:pt idx="29">
                  <c:v>40958</c:v>
                </c:pt>
                <c:pt idx="30">
                  <c:v>41002</c:v>
                </c:pt>
                <c:pt idx="31">
                  <c:v>41126</c:v>
                </c:pt>
                <c:pt idx="32">
                  <c:v>41128</c:v>
                </c:pt>
                <c:pt idx="33">
                  <c:v>41158</c:v>
                </c:pt>
                <c:pt idx="34">
                  <c:v>41175</c:v>
                </c:pt>
                <c:pt idx="35">
                  <c:v>41182</c:v>
                </c:pt>
                <c:pt idx="36">
                  <c:v>41196</c:v>
                </c:pt>
                <c:pt idx="37">
                  <c:v>41217</c:v>
                </c:pt>
                <c:pt idx="38">
                  <c:v>41223</c:v>
                </c:pt>
                <c:pt idx="39">
                  <c:v>41252</c:v>
                </c:pt>
                <c:pt idx="40">
                  <c:v>41259</c:v>
                </c:pt>
                <c:pt idx="41">
                  <c:v>41280</c:v>
                </c:pt>
                <c:pt idx="42">
                  <c:v>41413</c:v>
                </c:pt>
                <c:pt idx="43">
                  <c:v>41469</c:v>
                </c:pt>
                <c:pt idx="44">
                  <c:v>41483</c:v>
                </c:pt>
                <c:pt idx="45">
                  <c:v>41533</c:v>
                </c:pt>
                <c:pt idx="46">
                  <c:v>41547</c:v>
                </c:pt>
                <c:pt idx="47">
                  <c:v>41553</c:v>
                </c:pt>
                <c:pt idx="48">
                  <c:v>41644</c:v>
                </c:pt>
                <c:pt idx="49">
                  <c:v>41651</c:v>
                </c:pt>
                <c:pt idx="50">
                  <c:v>41665</c:v>
                </c:pt>
                <c:pt idx="51">
                  <c:v>41688</c:v>
                </c:pt>
                <c:pt idx="52">
                  <c:v>41756</c:v>
                </c:pt>
                <c:pt idx="53">
                  <c:v>41903</c:v>
                </c:pt>
                <c:pt idx="54">
                  <c:v>41994</c:v>
                </c:pt>
                <c:pt idx="55">
                  <c:v>42106</c:v>
                </c:pt>
                <c:pt idx="56">
                  <c:v>42197</c:v>
                </c:pt>
                <c:pt idx="57">
                  <c:v>42323</c:v>
                </c:pt>
                <c:pt idx="58">
                  <c:v>42464</c:v>
                </c:pt>
                <c:pt idx="59">
                  <c:v>42493</c:v>
                </c:pt>
                <c:pt idx="60">
                  <c:v>42680</c:v>
                </c:pt>
                <c:pt idx="61">
                  <c:v>43110</c:v>
                </c:pt>
              </c:numCache>
            </c:numRef>
          </c:cat>
          <c:val>
            <c:numRef>
              <c:f>Sheet1!$B$2:$B$63</c:f>
              <c:numCache>
                <c:formatCode>0%</c:formatCode>
                <c:ptCount val="62"/>
                <c:pt idx="0">
                  <c:v>0.62</c:v>
                </c:pt>
                <c:pt idx="1">
                  <c:v>0.65</c:v>
                </c:pt>
                <c:pt idx="2">
                  <c:v>0.66</c:v>
                </c:pt>
                <c:pt idx="3">
                  <c:v>0.67</c:v>
                </c:pt>
                <c:pt idx="4">
                  <c:v>0.66</c:v>
                </c:pt>
                <c:pt idx="5">
                  <c:v>0.73</c:v>
                </c:pt>
                <c:pt idx="6">
                  <c:v>0.76</c:v>
                </c:pt>
                <c:pt idx="7">
                  <c:v>0.75</c:v>
                </c:pt>
                <c:pt idx="8">
                  <c:v>0.77</c:v>
                </c:pt>
                <c:pt idx="9">
                  <c:v>0.78</c:v>
                </c:pt>
                <c:pt idx="10">
                  <c:v>0.82</c:v>
                </c:pt>
                <c:pt idx="11">
                  <c:v>0.84</c:v>
                </c:pt>
                <c:pt idx="12">
                  <c:v>0.85</c:v>
                </c:pt>
                <c:pt idx="13">
                  <c:v>0.85</c:v>
                </c:pt>
                <c:pt idx="14">
                  <c:v>0.84</c:v>
                </c:pt>
                <c:pt idx="15">
                  <c:v>0.83</c:v>
                </c:pt>
                <c:pt idx="16">
                  <c:v>0.8</c:v>
                </c:pt>
                <c:pt idx="17">
                  <c:v>0.82</c:v>
                </c:pt>
                <c:pt idx="18">
                  <c:v>0.85</c:v>
                </c:pt>
                <c:pt idx="19">
                  <c:v>0.84</c:v>
                </c:pt>
                <c:pt idx="20">
                  <c:v>0.82</c:v>
                </c:pt>
                <c:pt idx="21">
                  <c:v>0.82</c:v>
                </c:pt>
                <c:pt idx="22">
                  <c:v>0.81</c:v>
                </c:pt>
                <c:pt idx="23">
                  <c:v>0.86</c:v>
                </c:pt>
                <c:pt idx="24">
                  <c:v>0.83</c:v>
                </c:pt>
                <c:pt idx="25">
                  <c:v>0.84</c:v>
                </c:pt>
                <c:pt idx="26">
                  <c:v>0.87</c:v>
                </c:pt>
                <c:pt idx="27">
                  <c:v>0.88</c:v>
                </c:pt>
                <c:pt idx="28">
                  <c:v>0.87</c:v>
                </c:pt>
                <c:pt idx="29">
                  <c:v>0.88</c:v>
                </c:pt>
                <c:pt idx="30">
                  <c:v>0.88</c:v>
                </c:pt>
                <c:pt idx="31">
                  <c:v>0.87</c:v>
                </c:pt>
                <c:pt idx="32">
                  <c:v>0.89</c:v>
                </c:pt>
                <c:pt idx="33">
                  <c:v>0.85</c:v>
                </c:pt>
                <c:pt idx="34">
                  <c:v>0.88</c:v>
                </c:pt>
                <c:pt idx="35">
                  <c:v>0.89</c:v>
                </c:pt>
                <c:pt idx="36">
                  <c:v>0.88</c:v>
                </c:pt>
                <c:pt idx="37">
                  <c:v>0.89</c:v>
                </c:pt>
                <c:pt idx="38">
                  <c:v>0.84</c:v>
                </c:pt>
                <c:pt idx="39">
                  <c:v>0.87</c:v>
                </c:pt>
                <c:pt idx="40">
                  <c:v>0.88</c:v>
                </c:pt>
                <c:pt idx="41">
                  <c:v>0.89</c:v>
                </c:pt>
                <c:pt idx="42">
                  <c:v>0.91</c:v>
                </c:pt>
                <c:pt idx="43">
                  <c:v>0.9</c:v>
                </c:pt>
                <c:pt idx="44">
                  <c:v>0.91</c:v>
                </c:pt>
                <c:pt idx="45">
                  <c:v>0.89</c:v>
                </c:pt>
                <c:pt idx="46">
                  <c:v>0.91</c:v>
                </c:pt>
                <c:pt idx="47">
                  <c:v>0.92</c:v>
                </c:pt>
                <c:pt idx="48">
                  <c:v>0.92</c:v>
                </c:pt>
                <c:pt idx="49">
                  <c:v>0.9</c:v>
                </c:pt>
                <c:pt idx="50">
                  <c:v>0.91</c:v>
                </c:pt>
                <c:pt idx="51">
                  <c:v>0.9</c:v>
                </c:pt>
                <c:pt idx="52">
                  <c:v>0.92</c:v>
                </c:pt>
                <c:pt idx="53">
                  <c:v>0.91</c:v>
                </c:pt>
                <c:pt idx="54">
                  <c:v>0.89</c:v>
                </c:pt>
                <c:pt idx="55">
                  <c:v>0.92</c:v>
                </c:pt>
                <c:pt idx="56">
                  <c:v>0.92</c:v>
                </c:pt>
                <c:pt idx="57">
                  <c:v>0.91</c:v>
                </c:pt>
                <c:pt idx="58">
                  <c:v>0.92</c:v>
                </c:pt>
                <c:pt idx="59">
                  <c:v>0.92</c:v>
                </c:pt>
                <c:pt idx="60">
                  <c:v>0.95</c:v>
                </c:pt>
                <c:pt idx="61">
                  <c:v>0.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43D-4CD4-805A-F89AD527A5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martphon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63</c:f>
              <c:numCache>
                <c:formatCode>m/d/yyyy</c:formatCode>
                <c:ptCount val="62"/>
                <c:pt idx="0">
                  <c:v>37556</c:v>
                </c:pt>
                <c:pt idx="1">
                  <c:v>38321</c:v>
                </c:pt>
                <c:pt idx="2">
                  <c:v>38392</c:v>
                </c:pt>
                <c:pt idx="3">
                  <c:v>38717</c:v>
                </c:pt>
                <c:pt idx="4">
                  <c:v>38804</c:v>
                </c:pt>
                <c:pt idx="5">
                  <c:v>38813</c:v>
                </c:pt>
                <c:pt idx="6">
                  <c:v>39330</c:v>
                </c:pt>
                <c:pt idx="7">
                  <c:v>39418</c:v>
                </c:pt>
                <c:pt idx="8">
                  <c:v>39460</c:v>
                </c:pt>
                <c:pt idx="9">
                  <c:v>39579</c:v>
                </c:pt>
                <c:pt idx="10">
                  <c:v>39670</c:v>
                </c:pt>
                <c:pt idx="11">
                  <c:v>39802</c:v>
                </c:pt>
                <c:pt idx="12">
                  <c:v>39840</c:v>
                </c:pt>
                <c:pt idx="13">
                  <c:v>39922</c:v>
                </c:pt>
                <c:pt idx="14">
                  <c:v>40070</c:v>
                </c:pt>
                <c:pt idx="15">
                  <c:v>40174</c:v>
                </c:pt>
                <c:pt idx="16">
                  <c:v>40197</c:v>
                </c:pt>
                <c:pt idx="17">
                  <c:v>40328</c:v>
                </c:pt>
                <c:pt idx="18">
                  <c:v>40434</c:v>
                </c:pt>
                <c:pt idx="19">
                  <c:v>40483</c:v>
                </c:pt>
                <c:pt idx="20">
                  <c:v>40506</c:v>
                </c:pt>
                <c:pt idx="21">
                  <c:v>40510</c:v>
                </c:pt>
                <c:pt idx="22">
                  <c:v>40533</c:v>
                </c:pt>
                <c:pt idx="23">
                  <c:v>40622</c:v>
                </c:pt>
                <c:pt idx="24">
                  <c:v>40685</c:v>
                </c:pt>
                <c:pt idx="25">
                  <c:v>40781</c:v>
                </c:pt>
                <c:pt idx="26">
                  <c:v>40898</c:v>
                </c:pt>
                <c:pt idx="27">
                  <c:v>40916</c:v>
                </c:pt>
                <c:pt idx="28">
                  <c:v>40923</c:v>
                </c:pt>
                <c:pt idx="29">
                  <c:v>40958</c:v>
                </c:pt>
                <c:pt idx="30">
                  <c:v>41002</c:v>
                </c:pt>
                <c:pt idx="31">
                  <c:v>41126</c:v>
                </c:pt>
                <c:pt idx="32">
                  <c:v>41128</c:v>
                </c:pt>
                <c:pt idx="33">
                  <c:v>41158</c:v>
                </c:pt>
                <c:pt idx="34">
                  <c:v>41175</c:v>
                </c:pt>
                <c:pt idx="35">
                  <c:v>41182</c:v>
                </c:pt>
                <c:pt idx="36">
                  <c:v>41196</c:v>
                </c:pt>
                <c:pt idx="37">
                  <c:v>41217</c:v>
                </c:pt>
                <c:pt idx="38">
                  <c:v>41223</c:v>
                </c:pt>
                <c:pt idx="39">
                  <c:v>41252</c:v>
                </c:pt>
                <c:pt idx="40">
                  <c:v>41259</c:v>
                </c:pt>
                <c:pt idx="41">
                  <c:v>41280</c:v>
                </c:pt>
                <c:pt idx="42">
                  <c:v>41413</c:v>
                </c:pt>
                <c:pt idx="43">
                  <c:v>41469</c:v>
                </c:pt>
                <c:pt idx="44">
                  <c:v>41483</c:v>
                </c:pt>
                <c:pt idx="45">
                  <c:v>41533</c:v>
                </c:pt>
                <c:pt idx="46">
                  <c:v>41547</c:v>
                </c:pt>
                <c:pt idx="47">
                  <c:v>41553</c:v>
                </c:pt>
                <c:pt idx="48">
                  <c:v>41644</c:v>
                </c:pt>
                <c:pt idx="49">
                  <c:v>41651</c:v>
                </c:pt>
                <c:pt idx="50">
                  <c:v>41665</c:v>
                </c:pt>
                <c:pt idx="51">
                  <c:v>41688</c:v>
                </c:pt>
                <c:pt idx="52">
                  <c:v>41756</c:v>
                </c:pt>
                <c:pt idx="53">
                  <c:v>41903</c:v>
                </c:pt>
                <c:pt idx="54">
                  <c:v>41994</c:v>
                </c:pt>
                <c:pt idx="55">
                  <c:v>42106</c:v>
                </c:pt>
                <c:pt idx="56">
                  <c:v>42197</c:v>
                </c:pt>
                <c:pt idx="57">
                  <c:v>42323</c:v>
                </c:pt>
                <c:pt idx="58">
                  <c:v>42464</c:v>
                </c:pt>
                <c:pt idx="59">
                  <c:v>42493</c:v>
                </c:pt>
                <c:pt idx="60">
                  <c:v>42680</c:v>
                </c:pt>
                <c:pt idx="61">
                  <c:v>43110</c:v>
                </c:pt>
              </c:numCache>
            </c:numRef>
          </c:cat>
          <c:val>
            <c:numRef>
              <c:f>Sheet1!$C$2:$C$63</c:f>
              <c:numCache>
                <c:formatCode>General</c:formatCode>
                <c:ptCount val="62"/>
                <c:pt idx="24" formatCode="0%">
                  <c:v>0.35</c:v>
                </c:pt>
                <c:pt idx="28" formatCode="0%">
                  <c:v>0.39</c:v>
                </c:pt>
                <c:pt idx="29" formatCode="0%">
                  <c:v>0.45</c:v>
                </c:pt>
                <c:pt idx="30" formatCode="0%">
                  <c:v>0.46</c:v>
                </c:pt>
                <c:pt idx="31" formatCode="0%">
                  <c:v>0.44</c:v>
                </c:pt>
                <c:pt idx="33" formatCode="0%">
                  <c:v>0.45</c:v>
                </c:pt>
                <c:pt idx="34" formatCode="0%">
                  <c:v>0.43</c:v>
                </c:pt>
                <c:pt idx="38" formatCode="0%">
                  <c:v>0.46</c:v>
                </c:pt>
                <c:pt idx="39" formatCode="0%">
                  <c:v>0.45</c:v>
                </c:pt>
                <c:pt idx="41" formatCode="0%">
                  <c:v>0.51</c:v>
                </c:pt>
                <c:pt idx="42" formatCode="0%">
                  <c:v>0.56000000000000005</c:v>
                </c:pt>
                <c:pt idx="43" formatCode="0%">
                  <c:v>0.53</c:v>
                </c:pt>
                <c:pt idx="44" formatCode="0%">
                  <c:v>0.53</c:v>
                </c:pt>
                <c:pt idx="45" formatCode="0%">
                  <c:v>0.54</c:v>
                </c:pt>
                <c:pt idx="46" formatCode="0%">
                  <c:v>0.55000000000000004</c:v>
                </c:pt>
                <c:pt idx="47" formatCode="0%">
                  <c:v>0.57999999999999996</c:v>
                </c:pt>
                <c:pt idx="48" formatCode="0%">
                  <c:v>0.55000000000000004</c:v>
                </c:pt>
                <c:pt idx="49" formatCode="0%">
                  <c:v>0.57999999999999996</c:v>
                </c:pt>
                <c:pt idx="50" formatCode="0%">
                  <c:v>0.55000000000000004</c:v>
                </c:pt>
                <c:pt idx="54" formatCode="0%">
                  <c:v>0.59</c:v>
                </c:pt>
                <c:pt idx="55" formatCode="0%">
                  <c:v>0.67</c:v>
                </c:pt>
                <c:pt idx="56" formatCode="0%">
                  <c:v>0.68</c:v>
                </c:pt>
                <c:pt idx="57" formatCode="0%">
                  <c:v>0.69</c:v>
                </c:pt>
                <c:pt idx="58" formatCode="0%">
                  <c:v>0.72</c:v>
                </c:pt>
                <c:pt idx="59" formatCode="0%">
                  <c:v>0.7</c:v>
                </c:pt>
                <c:pt idx="60" formatCode="0%">
                  <c:v>0.77</c:v>
                </c:pt>
                <c:pt idx="61" formatCode="0%">
                  <c:v>0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43D-4CD4-805A-F89AD527A5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7254336"/>
        <c:axId val="117257664"/>
      </c:lineChart>
      <c:dateAx>
        <c:axId val="117254336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257664"/>
        <c:crosses val="autoZero"/>
        <c:auto val="1"/>
        <c:lblOffset val="100"/>
        <c:baseTimeUnit val="days"/>
      </c:dateAx>
      <c:valAx>
        <c:axId val="117257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254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ownloads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712-C84A-868E-FC38FE0E406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712-C84A-868E-FC38FE0E4066}"/>
              </c:ext>
            </c:extLst>
          </c:dPt>
          <c:cat>
            <c:strRef>
              <c:f>Sheet1!$A$2:$A$3</c:f>
              <c:strCache>
                <c:ptCount val="2"/>
                <c:pt idx="0">
                  <c:v>iOS</c:v>
                </c:pt>
                <c:pt idx="1">
                  <c:v>Android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247655</c:v>
                </c:pt>
                <c:pt idx="1">
                  <c:v>752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712-C84A-868E-FC38FE0E40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overlap val="-64"/>
        <c:axId val="-871799728"/>
        <c:axId val="-871406560"/>
      </c:barChart>
      <c:catAx>
        <c:axId val="-871799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871406560"/>
        <c:crosses val="autoZero"/>
        <c:auto val="1"/>
        <c:lblAlgn val="ctr"/>
        <c:lblOffset val="100"/>
        <c:noMultiLvlLbl val="0"/>
      </c:catAx>
      <c:valAx>
        <c:axId val="-871406560"/>
        <c:scaling>
          <c:orientation val="minMax"/>
          <c:max val="250000"/>
        </c:scaling>
        <c:delete val="0"/>
        <c:axPos val="l"/>
        <c:majorGridlines>
          <c:spPr>
            <a:ln w="9525" cap="flat" cmpd="sng" algn="ctr">
              <a:solidFill>
                <a:srgbClr val="000000"/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871799728"/>
        <c:crosses val="autoZero"/>
        <c:crossBetween val="between"/>
      </c:valAx>
      <c:spPr>
        <a:noFill/>
        <a:ln>
          <a:solidFill>
            <a:srgbClr val="000000"/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eport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97000"/>
                      <a:satMod val="100000"/>
                      <a:lumMod val="102000"/>
                    </a:schemeClr>
                  </a:gs>
                  <a:gs pos="50000">
                    <a:schemeClr val="accent1">
                      <a:shade val="100000"/>
                      <a:satMod val="103000"/>
                      <a:lumMod val="100000"/>
                    </a:schemeClr>
                  </a:gs>
                  <a:gs pos="100000">
                    <a:schemeClr val="accent1">
                      <a:shade val="93000"/>
                      <a:satMod val="11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9BE-F248-9399-122F9DC5AD0B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97000"/>
                      <a:satMod val="100000"/>
                      <a:lumMod val="102000"/>
                    </a:schemeClr>
                  </a:gs>
                  <a:gs pos="50000">
                    <a:schemeClr val="accent2">
                      <a:shade val="100000"/>
                      <a:satMod val="103000"/>
                      <a:lumMod val="100000"/>
                    </a:schemeClr>
                  </a:gs>
                  <a:gs pos="100000">
                    <a:schemeClr val="accent2">
                      <a:shade val="93000"/>
                      <a:satMod val="11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9BE-F248-9399-122F9DC5AD0B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tint val="97000"/>
                      <a:satMod val="100000"/>
                      <a:lumMod val="102000"/>
                    </a:schemeClr>
                  </a:gs>
                  <a:gs pos="50000">
                    <a:schemeClr val="accent3">
                      <a:shade val="100000"/>
                      <a:satMod val="103000"/>
                      <a:lumMod val="100000"/>
                    </a:schemeClr>
                  </a:gs>
                  <a:gs pos="100000">
                    <a:schemeClr val="accent3">
                      <a:shade val="93000"/>
                      <a:satMod val="11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20C-4AA1-A9FD-E559115F19D2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tint val="97000"/>
                      <a:satMod val="100000"/>
                      <a:lumMod val="102000"/>
                    </a:schemeClr>
                  </a:gs>
                  <a:gs pos="50000">
                    <a:schemeClr val="accent4">
                      <a:shade val="100000"/>
                      <a:satMod val="103000"/>
                      <a:lumMod val="100000"/>
                    </a:schemeClr>
                  </a:gs>
                  <a:gs pos="100000">
                    <a:schemeClr val="accent4">
                      <a:shade val="93000"/>
                      <a:satMod val="11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8EC6-4B8A-880C-5160F26873F9}"/>
              </c:ext>
            </c:extLst>
          </c:dPt>
          <c:dLbls>
            <c:dLbl>
              <c:idx val="0"/>
              <c:layout>
                <c:manualLayout>
                  <c:x val="-0.10747306345543201"/>
                  <c:y val="0.1651908787659510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3200" b="0" i="0" u="none" strike="noStrike" kern="1200" baseline="0">
                      <a:solidFill>
                        <a:schemeClr val="accent4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9BE-F248-9399-122F9DC5AD0B}"/>
                </c:ext>
              </c:extLst>
            </c:dLbl>
            <c:dLbl>
              <c:idx val="1"/>
              <c:layout>
                <c:manualLayout>
                  <c:x val="0.167936269685039"/>
                  <c:y val="-0.1728412893700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BE-F248-9399-122F9DC5AD0B}"/>
                </c:ext>
              </c:extLst>
            </c:dLbl>
            <c:dLbl>
              <c:idx val="3"/>
              <c:layout>
                <c:manualLayout>
                  <c:x val="3.6951256152607234E-2"/>
                  <c:y val="5.6036993240261921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EC6-4B8A-880C-5160F26873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3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6350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Animals</c:v>
                </c:pt>
                <c:pt idx="1">
                  <c:v>Plants</c:v>
                </c:pt>
                <c:pt idx="2">
                  <c:v>Insects</c:v>
                </c:pt>
                <c:pt idx="3">
                  <c:v>Diseases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0699999999999999</c:v>
                </c:pt>
                <c:pt idx="1">
                  <c:v>0.77800000000000002</c:v>
                </c:pt>
                <c:pt idx="2">
                  <c:v>4.0000000000000001E-3</c:v>
                </c:pt>
                <c:pt idx="3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9BE-F248-9399-122F9DC5AD0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eport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97000"/>
                      <a:satMod val="100000"/>
                      <a:lumMod val="102000"/>
                    </a:schemeClr>
                  </a:gs>
                  <a:gs pos="50000">
                    <a:schemeClr val="accent1">
                      <a:shade val="100000"/>
                      <a:satMod val="103000"/>
                      <a:lumMod val="100000"/>
                    </a:schemeClr>
                  </a:gs>
                  <a:gs pos="100000">
                    <a:schemeClr val="accent1">
                      <a:shade val="93000"/>
                      <a:satMod val="11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A63-6B48-9034-19496547AC35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97000"/>
                      <a:satMod val="100000"/>
                      <a:lumMod val="102000"/>
                    </a:schemeClr>
                  </a:gs>
                  <a:gs pos="50000">
                    <a:schemeClr val="accent2">
                      <a:shade val="100000"/>
                      <a:satMod val="103000"/>
                      <a:lumMod val="100000"/>
                    </a:schemeClr>
                  </a:gs>
                  <a:gs pos="100000">
                    <a:schemeClr val="accent2">
                      <a:shade val="93000"/>
                      <a:satMod val="11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A63-6B48-9034-19496547AC35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tint val="97000"/>
                      <a:satMod val="100000"/>
                      <a:lumMod val="102000"/>
                    </a:schemeClr>
                  </a:gs>
                  <a:gs pos="50000">
                    <a:schemeClr val="accent3">
                      <a:shade val="100000"/>
                      <a:satMod val="103000"/>
                      <a:lumMod val="100000"/>
                    </a:schemeClr>
                  </a:gs>
                  <a:gs pos="100000">
                    <a:schemeClr val="accent3">
                      <a:shade val="93000"/>
                      <a:satMod val="11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8E6-4CD3-8619-058DCC28C6C8}"/>
              </c:ext>
            </c:extLst>
          </c:dPt>
          <c:dLbls>
            <c:dLbl>
              <c:idx val="0"/>
              <c:layout>
                <c:manualLayout>
                  <c:x val="-0.20461817344621738"/>
                  <c:y val="0.1539836566123651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3200" b="0" i="0" u="none" strike="noStrike" kern="1200" baseline="0">
                      <a:solidFill>
                        <a:schemeClr val="accent4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A63-6B48-9034-19496547AC35}"/>
                </c:ext>
              </c:extLst>
            </c:dLbl>
            <c:dLbl>
              <c:idx val="1"/>
              <c:layout>
                <c:manualLayout>
                  <c:x val="0.167936269685039"/>
                  <c:y val="-0.1728412893700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A63-6B48-9034-19496547AC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3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6350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nimals</c:v>
                </c:pt>
                <c:pt idx="1">
                  <c:v>Plants</c:v>
                </c:pt>
                <c:pt idx="2">
                  <c:v>Insects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47199999999999998</c:v>
                </c:pt>
                <c:pt idx="1">
                  <c:v>0.52600000000000002</c:v>
                </c:pt>
                <c:pt idx="2" formatCode="0.00%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A63-6B48-9034-19496547AC3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b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6873</c:v>
                </c:pt>
                <c:pt idx="1">
                  <c:v>4609</c:v>
                </c:pt>
                <c:pt idx="2">
                  <c:v>4438</c:v>
                </c:pt>
                <c:pt idx="3">
                  <c:v>5108</c:v>
                </c:pt>
                <c:pt idx="4">
                  <c:v>5523</c:v>
                </c:pt>
                <c:pt idx="5">
                  <c:v>8193</c:v>
                </c:pt>
                <c:pt idx="6">
                  <c:v>10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78-304B-B737-C59134A37C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506</c:v>
                </c:pt>
                <c:pt idx="1">
                  <c:v>1692</c:v>
                </c:pt>
                <c:pt idx="2">
                  <c:v>3333</c:v>
                </c:pt>
                <c:pt idx="3">
                  <c:v>3778</c:v>
                </c:pt>
                <c:pt idx="4">
                  <c:v>39360</c:v>
                </c:pt>
                <c:pt idx="5">
                  <c:v>25926</c:v>
                </c:pt>
                <c:pt idx="6">
                  <c:v>147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78-304B-B737-C59134A37C7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ndroi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635</c:v>
                </c:pt>
                <c:pt idx="1">
                  <c:v>1456</c:v>
                </c:pt>
                <c:pt idx="2">
                  <c:v>3214</c:v>
                </c:pt>
                <c:pt idx="3">
                  <c:v>2888</c:v>
                </c:pt>
                <c:pt idx="4">
                  <c:v>10767</c:v>
                </c:pt>
                <c:pt idx="5">
                  <c:v>9900</c:v>
                </c:pt>
                <c:pt idx="6">
                  <c:v>8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78-304B-B737-C59134A37C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862588976"/>
        <c:axId val="-862808272"/>
      </c:barChart>
      <c:catAx>
        <c:axId val="-862588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862808272"/>
        <c:crosses val="autoZero"/>
        <c:auto val="1"/>
        <c:lblAlgn val="ctr"/>
        <c:lblOffset val="100"/>
        <c:noMultiLvlLbl val="0"/>
      </c:catAx>
      <c:valAx>
        <c:axId val="-862808272"/>
        <c:scaling>
          <c:orientation val="minMax"/>
          <c:max val="60000"/>
        </c:scaling>
        <c:delete val="0"/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862588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400" baseline="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b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6873</c:v>
                </c:pt>
                <c:pt idx="1">
                  <c:v>4609</c:v>
                </c:pt>
                <c:pt idx="2">
                  <c:v>4438</c:v>
                </c:pt>
                <c:pt idx="3">
                  <c:v>5108</c:v>
                </c:pt>
                <c:pt idx="4">
                  <c:v>6390</c:v>
                </c:pt>
                <c:pt idx="5">
                  <c:v>9517</c:v>
                </c:pt>
                <c:pt idx="6">
                  <c:v>113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64-4248-9154-D0338BFC29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506</c:v>
                </c:pt>
                <c:pt idx="1">
                  <c:v>1692</c:v>
                </c:pt>
                <c:pt idx="2">
                  <c:v>3333</c:v>
                </c:pt>
                <c:pt idx="3">
                  <c:v>3778</c:v>
                </c:pt>
                <c:pt idx="4">
                  <c:v>39394</c:v>
                </c:pt>
                <c:pt idx="5">
                  <c:v>27012</c:v>
                </c:pt>
                <c:pt idx="6">
                  <c:v>166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64-4248-9154-D0338BFC29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ndroi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635</c:v>
                </c:pt>
                <c:pt idx="1">
                  <c:v>1456</c:v>
                </c:pt>
                <c:pt idx="2">
                  <c:v>3214</c:v>
                </c:pt>
                <c:pt idx="3">
                  <c:v>2888</c:v>
                </c:pt>
                <c:pt idx="4">
                  <c:v>11481</c:v>
                </c:pt>
                <c:pt idx="5">
                  <c:v>9915</c:v>
                </c:pt>
                <c:pt idx="6">
                  <c:v>9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64-4248-9154-D0338BFC29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29749472"/>
        <c:axId val="229736576"/>
      </c:barChart>
      <c:catAx>
        <c:axId val="229749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9736576"/>
        <c:crosses val="autoZero"/>
        <c:auto val="1"/>
        <c:lblAlgn val="ctr"/>
        <c:lblOffset val="100"/>
        <c:noMultiLvlLbl val="0"/>
      </c:catAx>
      <c:valAx>
        <c:axId val="229736576"/>
        <c:scaling>
          <c:orientation val="minMax"/>
          <c:max val="60000"/>
        </c:scaling>
        <c:delete val="0"/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9749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0442F1-200A-E742-BDE8-E10E66F8079E}" type="doc">
      <dgm:prSet loTypeId="urn:microsoft.com/office/officeart/2005/8/layout/hierarchy2" loCatId="" qsTypeId="urn:microsoft.com/office/officeart/2005/8/quickstyle/3D4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ACC9D52B-07F7-E84E-99E0-0A53BC35920F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New Report</a:t>
          </a:r>
        </a:p>
      </dgm:t>
    </dgm:pt>
    <dgm:pt modelId="{FEDA2D47-2F96-F94B-B202-AFEEC7419E0E}" type="parTrans" cxnId="{7640AEDA-FD9D-BD46-BDAE-C9E27AF2E9BA}">
      <dgm:prSet/>
      <dgm:spPr/>
      <dgm:t>
        <a:bodyPr/>
        <a:lstStyle/>
        <a:p>
          <a:endParaRPr lang="en-US"/>
        </a:p>
      </dgm:t>
    </dgm:pt>
    <dgm:pt modelId="{4725C14E-0F10-7446-A0C8-9719A2601E68}" type="sibTrans" cxnId="{7640AEDA-FD9D-BD46-BDAE-C9E27AF2E9BA}">
      <dgm:prSet/>
      <dgm:spPr/>
      <dgm:t>
        <a:bodyPr/>
        <a:lstStyle/>
        <a:p>
          <a:endParaRPr lang="en-US"/>
        </a:p>
      </dgm:t>
    </dgm:pt>
    <dgm:pt modelId="{295D51C3-260F-3A4F-9553-99AC118E655E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Single Reports</a:t>
          </a:r>
        </a:p>
      </dgm:t>
    </dgm:pt>
    <dgm:pt modelId="{466F315B-3A88-3F42-944D-EEBDA6415AB3}" type="parTrans" cxnId="{0C90F58D-D698-F340-853F-DDDDB7887B76}">
      <dgm:prSet/>
      <dgm:spPr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91862732-218D-E844-846E-DC954DABE88B}" type="sibTrans" cxnId="{0C90F58D-D698-F340-853F-DDDDB7887B76}">
      <dgm:prSet/>
      <dgm:spPr/>
      <dgm:t>
        <a:bodyPr/>
        <a:lstStyle/>
        <a:p>
          <a:endParaRPr lang="en-US"/>
        </a:p>
      </dgm:t>
    </dgm:pt>
    <dgm:pt modelId="{01D60FF1-0BF4-9449-927E-A7021BC202FF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Web Forms</a:t>
          </a:r>
        </a:p>
      </dgm:t>
    </dgm:pt>
    <dgm:pt modelId="{1EADCADB-9696-D147-B6CC-021B39661623}" type="parTrans" cxnId="{3262F67C-A2C7-8346-8FD5-6B25BCA1851D}">
      <dgm:prSet/>
      <dgm:spPr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60FEE563-1E33-2E4D-A2F6-310C3D3C8E47}" type="sibTrans" cxnId="{3262F67C-A2C7-8346-8FD5-6B25BCA1851D}">
      <dgm:prSet/>
      <dgm:spPr/>
      <dgm:t>
        <a:bodyPr/>
        <a:lstStyle/>
        <a:p>
          <a:endParaRPr lang="en-US"/>
        </a:p>
      </dgm:t>
    </dgm:pt>
    <dgm:pt modelId="{AEA89958-F8C6-2E46-9155-C6CE8377BAE0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Smartphone Apps</a:t>
          </a:r>
        </a:p>
      </dgm:t>
    </dgm:pt>
    <dgm:pt modelId="{8929CBC5-3838-C742-A9E1-2A48EAD79778}" type="parTrans" cxnId="{DA2C37AB-406E-D94E-851E-78AB3E4A1236}">
      <dgm:prSet/>
      <dgm:spPr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FA3FF2C3-6C7D-3D43-9306-997E0367FBA0}" type="sibTrans" cxnId="{DA2C37AB-406E-D94E-851E-78AB3E4A1236}">
      <dgm:prSet/>
      <dgm:spPr/>
      <dgm:t>
        <a:bodyPr/>
        <a:lstStyle/>
        <a:p>
          <a:endParaRPr lang="en-US"/>
        </a:p>
      </dgm:t>
    </dgm:pt>
    <dgm:pt modelId="{9E03651C-DCF3-DE4A-8668-873CFCE31E86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Bulk Data</a:t>
          </a:r>
        </a:p>
      </dgm:t>
    </dgm:pt>
    <dgm:pt modelId="{7213CDF3-FC1B-3A44-A9BE-248F294166AC}" type="parTrans" cxnId="{3C4C8A8C-63EA-DF46-B224-DA4346373559}">
      <dgm:prSet/>
      <dgm:spPr/>
      <dgm:t>
        <a:bodyPr/>
        <a:lstStyle/>
        <a:p>
          <a:endParaRPr lang="en-US"/>
        </a:p>
      </dgm:t>
    </dgm:pt>
    <dgm:pt modelId="{C9FDB78E-81CA-814A-957D-4AE736042311}" type="sibTrans" cxnId="{3C4C8A8C-63EA-DF46-B224-DA4346373559}">
      <dgm:prSet/>
      <dgm:spPr/>
      <dgm:t>
        <a:bodyPr/>
        <a:lstStyle/>
        <a:p>
          <a:endParaRPr lang="en-US"/>
        </a:p>
      </dgm:t>
    </dgm:pt>
    <dgm:pt modelId="{D83CB6B2-089A-6442-8102-501A710454ED}">
      <dgm:prSet phldrT="[Text]"/>
      <dgm:spPr>
        <a:solidFill>
          <a:schemeClr val="bg2">
            <a:lumMod val="40000"/>
            <a:lumOff val="6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One Time Dumps</a:t>
          </a:r>
        </a:p>
      </dgm:t>
    </dgm:pt>
    <dgm:pt modelId="{885CD087-09B3-F14D-9FB6-B7F04B9FE133}" type="parTrans" cxnId="{78A6A2FF-48B8-F14C-9E77-36EE6D85402E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C71ECAEC-7CB9-EA4E-9173-00D75000230C}" type="sibTrans" cxnId="{78A6A2FF-48B8-F14C-9E77-36EE6D85402E}">
      <dgm:prSet/>
      <dgm:spPr/>
      <dgm:t>
        <a:bodyPr/>
        <a:lstStyle/>
        <a:p>
          <a:endParaRPr lang="en-US"/>
        </a:p>
      </dgm:t>
    </dgm:pt>
    <dgm:pt modelId="{991522CD-CB8B-E949-A317-FB242A4209D8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Embedded Web Forms</a:t>
          </a:r>
        </a:p>
      </dgm:t>
    </dgm:pt>
    <dgm:pt modelId="{9092C019-A176-5D48-9CD4-C906D910F305}" type="parTrans" cxnId="{BF0A6A3B-30F5-D94B-9B13-095225BDC5C9}">
      <dgm:prSet/>
      <dgm:spPr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63FADE6E-774D-3D4E-B965-71E776D97C1B}" type="sibTrans" cxnId="{BF0A6A3B-30F5-D94B-9B13-095225BDC5C9}">
      <dgm:prSet/>
      <dgm:spPr/>
      <dgm:t>
        <a:bodyPr/>
        <a:lstStyle/>
        <a:p>
          <a:endParaRPr lang="en-US"/>
        </a:p>
      </dgm:t>
    </dgm:pt>
    <dgm:pt modelId="{35008F71-FB15-4B44-AF9C-917F65B95C69}">
      <dgm:prSet/>
      <dgm:spPr>
        <a:solidFill>
          <a:schemeClr val="bg2">
            <a:lumMod val="40000"/>
            <a:lumOff val="6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Data Sharing Partners</a:t>
          </a:r>
        </a:p>
      </dgm:t>
    </dgm:pt>
    <dgm:pt modelId="{ABA19561-9D23-5842-84A1-9EC889FC55F9}" type="parTrans" cxnId="{69621808-592A-5649-BF9C-1BDF27D233C3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7E29BF2A-0558-5844-901E-0B6A9D5D6FAA}" type="sibTrans" cxnId="{69621808-592A-5649-BF9C-1BDF27D233C3}">
      <dgm:prSet/>
      <dgm:spPr/>
      <dgm:t>
        <a:bodyPr/>
        <a:lstStyle/>
        <a:p>
          <a:endParaRPr lang="en-US"/>
        </a:p>
      </dgm:t>
    </dgm:pt>
    <dgm:pt modelId="{652F4E1E-660A-B740-AED5-C1F922C2C143}">
      <dgm:prSet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GISIN Mirror</a:t>
          </a:r>
        </a:p>
      </dgm:t>
    </dgm:pt>
    <dgm:pt modelId="{6FB626A3-0635-4A40-8064-B6659747B06F}" type="parTrans" cxnId="{D97567CE-E2F6-DD48-91C7-9DB6A328F79E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1214A971-EF31-BD42-AA48-D5F60092C5F3}" type="sibTrans" cxnId="{D97567CE-E2F6-DD48-91C7-9DB6A328F79E}">
      <dgm:prSet/>
      <dgm:spPr/>
      <dgm:t>
        <a:bodyPr/>
        <a:lstStyle/>
        <a:p>
          <a:endParaRPr lang="en-US"/>
        </a:p>
      </dgm:t>
    </dgm:pt>
    <dgm:pt modelId="{88FA79E7-B9F2-384C-B21C-CFEBA4859EE7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Reporting API</a:t>
          </a:r>
        </a:p>
      </dgm:t>
    </dgm:pt>
    <dgm:pt modelId="{815A5A2C-60E9-5241-9BE2-4AEC352E9AF2}" type="parTrans" cxnId="{18D0F237-D58A-514F-869A-905BF3E3508D}">
      <dgm:prSet/>
      <dgm:spPr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B04318C1-3D6B-5247-89E7-418B85F57BCD}" type="sibTrans" cxnId="{18D0F237-D58A-514F-869A-905BF3E3508D}">
      <dgm:prSet/>
      <dgm:spPr/>
      <dgm:t>
        <a:bodyPr/>
        <a:lstStyle/>
        <a:p>
          <a:endParaRPr lang="en-US"/>
        </a:p>
      </dgm:t>
    </dgm:pt>
    <dgm:pt modelId="{E322930C-E758-FE40-94FF-DBDEB8747C6D}" type="pres">
      <dgm:prSet presAssocID="{660442F1-200A-E742-BDE8-E10E66F8079E}" presName="diagram" presStyleCnt="0">
        <dgm:presLayoutVars>
          <dgm:chPref val="1"/>
          <dgm:dir val="rev"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AC69C6E-9EA5-2449-93D3-BC388C2CDD1D}" type="pres">
      <dgm:prSet presAssocID="{ACC9D52B-07F7-E84E-99E0-0A53BC35920F}" presName="root1" presStyleCnt="0"/>
      <dgm:spPr/>
    </dgm:pt>
    <dgm:pt modelId="{A20EEA70-2DD0-5242-9F4B-FCF0157721A5}" type="pres">
      <dgm:prSet presAssocID="{ACC9D52B-07F7-E84E-99E0-0A53BC35920F}" presName="LevelOneTextNode" presStyleLbl="node0" presStyleIdx="0" presStyleCnt="1" custLinFactNeighborX="60709" custLinFactNeighborY="-2398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20219C7-56B8-2543-BB91-398B91C08D87}" type="pres">
      <dgm:prSet presAssocID="{ACC9D52B-07F7-E84E-99E0-0A53BC35920F}" presName="level2hierChild" presStyleCnt="0"/>
      <dgm:spPr/>
    </dgm:pt>
    <dgm:pt modelId="{F8777F46-2F08-6641-984E-094EE2BFEEE1}" type="pres">
      <dgm:prSet presAssocID="{466F315B-3A88-3F42-944D-EEBDA6415AB3}" presName="conn2-1" presStyleLbl="parChTrans1D2" presStyleIdx="0" presStyleCnt="2"/>
      <dgm:spPr/>
      <dgm:t>
        <a:bodyPr/>
        <a:lstStyle/>
        <a:p>
          <a:endParaRPr lang="en-US"/>
        </a:p>
      </dgm:t>
    </dgm:pt>
    <dgm:pt modelId="{78DB4C44-9340-FD4F-B721-E84FA0D4F86D}" type="pres">
      <dgm:prSet presAssocID="{466F315B-3A88-3F42-944D-EEBDA6415AB3}" presName="connTx" presStyleLbl="parChTrans1D2" presStyleIdx="0" presStyleCnt="2"/>
      <dgm:spPr/>
      <dgm:t>
        <a:bodyPr/>
        <a:lstStyle/>
        <a:p>
          <a:endParaRPr lang="en-US"/>
        </a:p>
      </dgm:t>
    </dgm:pt>
    <dgm:pt modelId="{4586F9E8-6542-D942-B069-5AC45781DBD3}" type="pres">
      <dgm:prSet presAssocID="{295D51C3-260F-3A4F-9553-99AC118E655E}" presName="root2" presStyleCnt="0"/>
      <dgm:spPr/>
    </dgm:pt>
    <dgm:pt modelId="{36CD2B8C-99A0-CC41-8401-08769ED4AD9C}" type="pres">
      <dgm:prSet presAssocID="{295D51C3-260F-3A4F-9553-99AC118E655E}" presName="LevelTwoTextNode" presStyleLbl="node2" presStyleIdx="0" presStyleCnt="2" custLinFactNeighborX="50000" custLinFactNeighborY="17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31F92FD-4D4B-1C48-A9A1-1417CE5DC5AB}" type="pres">
      <dgm:prSet presAssocID="{295D51C3-260F-3A4F-9553-99AC118E655E}" presName="level3hierChild" presStyleCnt="0"/>
      <dgm:spPr/>
    </dgm:pt>
    <dgm:pt modelId="{7CF2B8CE-009F-B942-A888-0330C8566634}" type="pres">
      <dgm:prSet presAssocID="{1EADCADB-9696-D147-B6CC-021B39661623}" presName="conn2-1" presStyleLbl="parChTrans1D3" presStyleIdx="0" presStyleCnt="7"/>
      <dgm:spPr/>
      <dgm:t>
        <a:bodyPr/>
        <a:lstStyle/>
        <a:p>
          <a:endParaRPr lang="en-US"/>
        </a:p>
      </dgm:t>
    </dgm:pt>
    <dgm:pt modelId="{2A07D56A-492D-884A-94E7-013C5F05FDE0}" type="pres">
      <dgm:prSet presAssocID="{1EADCADB-9696-D147-B6CC-021B39661623}" presName="connTx" presStyleLbl="parChTrans1D3" presStyleIdx="0" presStyleCnt="7"/>
      <dgm:spPr/>
      <dgm:t>
        <a:bodyPr/>
        <a:lstStyle/>
        <a:p>
          <a:endParaRPr lang="en-US"/>
        </a:p>
      </dgm:t>
    </dgm:pt>
    <dgm:pt modelId="{736E160A-B9D4-514F-B858-59AD769D2120}" type="pres">
      <dgm:prSet presAssocID="{01D60FF1-0BF4-9449-927E-A7021BC202FF}" presName="root2" presStyleCnt="0"/>
      <dgm:spPr/>
    </dgm:pt>
    <dgm:pt modelId="{B69C7459-EB00-394A-AF0E-5F96FF99B8FF}" type="pres">
      <dgm:prSet presAssocID="{01D60FF1-0BF4-9449-927E-A7021BC202FF}" presName="LevelTwoTextNode" presStyleLbl="node3" presStyleIdx="0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2907A92-18BD-3B49-9FEB-F8DA656CB910}" type="pres">
      <dgm:prSet presAssocID="{01D60FF1-0BF4-9449-927E-A7021BC202FF}" presName="level3hierChild" presStyleCnt="0"/>
      <dgm:spPr/>
    </dgm:pt>
    <dgm:pt modelId="{940417C7-F1CC-D141-B312-D9F73101A070}" type="pres">
      <dgm:prSet presAssocID="{8929CBC5-3838-C742-A9E1-2A48EAD79778}" presName="conn2-1" presStyleLbl="parChTrans1D3" presStyleIdx="1" presStyleCnt="7"/>
      <dgm:spPr/>
      <dgm:t>
        <a:bodyPr/>
        <a:lstStyle/>
        <a:p>
          <a:endParaRPr lang="en-US"/>
        </a:p>
      </dgm:t>
    </dgm:pt>
    <dgm:pt modelId="{11879A55-2D4A-0741-A0DA-498ED35EF3ED}" type="pres">
      <dgm:prSet presAssocID="{8929CBC5-3838-C742-A9E1-2A48EAD79778}" presName="connTx" presStyleLbl="parChTrans1D3" presStyleIdx="1" presStyleCnt="7"/>
      <dgm:spPr/>
      <dgm:t>
        <a:bodyPr/>
        <a:lstStyle/>
        <a:p>
          <a:endParaRPr lang="en-US"/>
        </a:p>
      </dgm:t>
    </dgm:pt>
    <dgm:pt modelId="{506CF875-57E4-EA43-A758-70763F7CF03C}" type="pres">
      <dgm:prSet presAssocID="{AEA89958-F8C6-2E46-9155-C6CE8377BAE0}" presName="root2" presStyleCnt="0"/>
      <dgm:spPr/>
    </dgm:pt>
    <dgm:pt modelId="{67B08EC8-2AA7-5D40-BB57-49059FC7754E}" type="pres">
      <dgm:prSet presAssocID="{AEA89958-F8C6-2E46-9155-C6CE8377BAE0}" presName="LevelTwoTextNode" presStyleLbl="node3" presStyleIdx="1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9A30089-0C2E-314D-B611-A3691E166BF2}" type="pres">
      <dgm:prSet presAssocID="{AEA89958-F8C6-2E46-9155-C6CE8377BAE0}" presName="level3hierChild" presStyleCnt="0"/>
      <dgm:spPr/>
    </dgm:pt>
    <dgm:pt modelId="{5441D79C-5AD1-6845-9D4D-68A5FAC518E1}" type="pres">
      <dgm:prSet presAssocID="{9092C019-A176-5D48-9CD4-C906D910F305}" presName="conn2-1" presStyleLbl="parChTrans1D3" presStyleIdx="2" presStyleCnt="7"/>
      <dgm:spPr/>
      <dgm:t>
        <a:bodyPr/>
        <a:lstStyle/>
        <a:p>
          <a:endParaRPr lang="en-US"/>
        </a:p>
      </dgm:t>
    </dgm:pt>
    <dgm:pt modelId="{3286D183-28A0-0349-A31C-368A3BD4F6D5}" type="pres">
      <dgm:prSet presAssocID="{9092C019-A176-5D48-9CD4-C906D910F305}" presName="connTx" presStyleLbl="parChTrans1D3" presStyleIdx="2" presStyleCnt="7"/>
      <dgm:spPr/>
      <dgm:t>
        <a:bodyPr/>
        <a:lstStyle/>
        <a:p>
          <a:endParaRPr lang="en-US"/>
        </a:p>
      </dgm:t>
    </dgm:pt>
    <dgm:pt modelId="{9F0195A3-C2A1-D443-A62E-C3D5762ED7A6}" type="pres">
      <dgm:prSet presAssocID="{991522CD-CB8B-E949-A317-FB242A4209D8}" presName="root2" presStyleCnt="0"/>
      <dgm:spPr/>
    </dgm:pt>
    <dgm:pt modelId="{902E0583-CDD0-1B42-B5DA-5C52366AEB5A}" type="pres">
      <dgm:prSet presAssocID="{991522CD-CB8B-E949-A317-FB242A4209D8}" presName="LevelTwoTextNode" presStyleLbl="node3" presStyleIdx="2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A3BCAE1-CAAD-C142-87FB-A202789CB352}" type="pres">
      <dgm:prSet presAssocID="{991522CD-CB8B-E949-A317-FB242A4209D8}" presName="level3hierChild" presStyleCnt="0"/>
      <dgm:spPr/>
    </dgm:pt>
    <dgm:pt modelId="{5954F0F4-C38E-F84D-A58F-D1E547033822}" type="pres">
      <dgm:prSet presAssocID="{815A5A2C-60E9-5241-9BE2-4AEC352E9AF2}" presName="conn2-1" presStyleLbl="parChTrans1D3" presStyleIdx="3" presStyleCnt="7"/>
      <dgm:spPr/>
      <dgm:t>
        <a:bodyPr/>
        <a:lstStyle/>
        <a:p>
          <a:endParaRPr lang="en-US"/>
        </a:p>
      </dgm:t>
    </dgm:pt>
    <dgm:pt modelId="{F08A2A5D-30BD-1240-B3AA-C4F4575146CD}" type="pres">
      <dgm:prSet presAssocID="{815A5A2C-60E9-5241-9BE2-4AEC352E9AF2}" presName="connTx" presStyleLbl="parChTrans1D3" presStyleIdx="3" presStyleCnt="7"/>
      <dgm:spPr/>
      <dgm:t>
        <a:bodyPr/>
        <a:lstStyle/>
        <a:p>
          <a:endParaRPr lang="en-US"/>
        </a:p>
      </dgm:t>
    </dgm:pt>
    <dgm:pt modelId="{EECEA0F0-6A1C-E948-8B96-C52BCE38053B}" type="pres">
      <dgm:prSet presAssocID="{88FA79E7-B9F2-384C-B21C-CFEBA4859EE7}" presName="root2" presStyleCnt="0"/>
      <dgm:spPr/>
    </dgm:pt>
    <dgm:pt modelId="{1D4D2001-07E3-1D48-AF4F-E1253E2697A7}" type="pres">
      <dgm:prSet presAssocID="{88FA79E7-B9F2-384C-B21C-CFEBA4859EE7}" presName="LevelTwoTextNode" presStyleLbl="node3" presStyleIdx="3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9323AD1-D9A3-4447-802B-77C688EB983B}" type="pres">
      <dgm:prSet presAssocID="{88FA79E7-B9F2-384C-B21C-CFEBA4859EE7}" presName="level3hierChild" presStyleCnt="0"/>
      <dgm:spPr/>
    </dgm:pt>
    <dgm:pt modelId="{7DC07589-024E-9349-B38A-888B02D4CBD1}" type="pres">
      <dgm:prSet presAssocID="{7213CDF3-FC1B-3A44-A9BE-248F294166AC}" presName="conn2-1" presStyleLbl="parChTrans1D2" presStyleIdx="1" presStyleCnt="2"/>
      <dgm:spPr/>
      <dgm:t>
        <a:bodyPr/>
        <a:lstStyle/>
        <a:p>
          <a:endParaRPr lang="en-US"/>
        </a:p>
      </dgm:t>
    </dgm:pt>
    <dgm:pt modelId="{5F9595F7-6096-B847-9FF2-9E4DD0F0B40D}" type="pres">
      <dgm:prSet presAssocID="{7213CDF3-FC1B-3A44-A9BE-248F294166AC}" presName="connTx" presStyleLbl="parChTrans1D2" presStyleIdx="1" presStyleCnt="2"/>
      <dgm:spPr/>
      <dgm:t>
        <a:bodyPr/>
        <a:lstStyle/>
        <a:p>
          <a:endParaRPr lang="en-US"/>
        </a:p>
      </dgm:t>
    </dgm:pt>
    <dgm:pt modelId="{659AC063-50AE-9741-897F-285CC23F2821}" type="pres">
      <dgm:prSet presAssocID="{9E03651C-DCF3-DE4A-8668-873CFCE31E86}" presName="root2" presStyleCnt="0"/>
      <dgm:spPr/>
    </dgm:pt>
    <dgm:pt modelId="{17B50BD4-4FCC-3B4B-903B-3E5D2672D128}" type="pres">
      <dgm:prSet presAssocID="{9E03651C-DCF3-DE4A-8668-873CFCE31E86}" presName="LevelTwoTextNode" presStyleLbl="node2" presStyleIdx="1" presStyleCnt="2" custLinFactNeighborX="50000" custLinFactNeighborY="-359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0375B45-F60E-1042-A593-B4E59C84C928}" type="pres">
      <dgm:prSet presAssocID="{9E03651C-DCF3-DE4A-8668-873CFCE31E86}" presName="level3hierChild" presStyleCnt="0"/>
      <dgm:spPr/>
    </dgm:pt>
    <dgm:pt modelId="{9D33C54A-7F5D-CC47-8940-D2B3953BCD86}" type="pres">
      <dgm:prSet presAssocID="{885CD087-09B3-F14D-9FB6-B7F04B9FE133}" presName="conn2-1" presStyleLbl="parChTrans1D3" presStyleIdx="4" presStyleCnt="7"/>
      <dgm:spPr/>
      <dgm:t>
        <a:bodyPr/>
        <a:lstStyle/>
        <a:p>
          <a:endParaRPr lang="en-US"/>
        </a:p>
      </dgm:t>
    </dgm:pt>
    <dgm:pt modelId="{804D488D-AD7F-1740-9CE7-C18624CBBE12}" type="pres">
      <dgm:prSet presAssocID="{885CD087-09B3-F14D-9FB6-B7F04B9FE133}" presName="connTx" presStyleLbl="parChTrans1D3" presStyleIdx="4" presStyleCnt="7"/>
      <dgm:spPr/>
      <dgm:t>
        <a:bodyPr/>
        <a:lstStyle/>
        <a:p>
          <a:endParaRPr lang="en-US"/>
        </a:p>
      </dgm:t>
    </dgm:pt>
    <dgm:pt modelId="{C8B0A933-B795-834D-953C-FE0D06F2078E}" type="pres">
      <dgm:prSet presAssocID="{D83CB6B2-089A-6442-8102-501A710454ED}" presName="root2" presStyleCnt="0"/>
      <dgm:spPr/>
    </dgm:pt>
    <dgm:pt modelId="{52A2FD0F-3617-494C-9C35-9DE8D0703D29}" type="pres">
      <dgm:prSet presAssocID="{D83CB6B2-089A-6442-8102-501A710454ED}" presName="LevelTwoTextNode" presStyleLbl="node3" presStyleIdx="4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6B0883B-21F4-8D4C-B221-8088AF57AAC8}" type="pres">
      <dgm:prSet presAssocID="{D83CB6B2-089A-6442-8102-501A710454ED}" presName="level3hierChild" presStyleCnt="0"/>
      <dgm:spPr/>
    </dgm:pt>
    <dgm:pt modelId="{E090A8BB-9160-6D47-8760-0743085B67EE}" type="pres">
      <dgm:prSet presAssocID="{ABA19561-9D23-5842-84A1-9EC889FC55F9}" presName="conn2-1" presStyleLbl="parChTrans1D3" presStyleIdx="5" presStyleCnt="7"/>
      <dgm:spPr/>
      <dgm:t>
        <a:bodyPr/>
        <a:lstStyle/>
        <a:p>
          <a:endParaRPr lang="en-US"/>
        </a:p>
      </dgm:t>
    </dgm:pt>
    <dgm:pt modelId="{12975B05-778E-4F41-87DA-BCC219D8460C}" type="pres">
      <dgm:prSet presAssocID="{ABA19561-9D23-5842-84A1-9EC889FC55F9}" presName="connTx" presStyleLbl="parChTrans1D3" presStyleIdx="5" presStyleCnt="7"/>
      <dgm:spPr/>
      <dgm:t>
        <a:bodyPr/>
        <a:lstStyle/>
        <a:p>
          <a:endParaRPr lang="en-US"/>
        </a:p>
      </dgm:t>
    </dgm:pt>
    <dgm:pt modelId="{9E47C1A6-6D48-8643-9302-480F89B06A51}" type="pres">
      <dgm:prSet presAssocID="{35008F71-FB15-4B44-AF9C-917F65B95C69}" presName="root2" presStyleCnt="0"/>
      <dgm:spPr/>
    </dgm:pt>
    <dgm:pt modelId="{F105AE0F-302C-854F-BE92-46037C6103ED}" type="pres">
      <dgm:prSet presAssocID="{35008F71-FB15-4B44-AF9C-917F65B95C69}" presName="LevelTwoTextNode" presStyleLbl="node3" presStyleIdx="5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FB1FCFE-7E2F-C44C-9552-F912778C8765}" type="pres">
      <dgm:prSet presAssocID="{35008F71-FB15-4B44-AF9C-917F65B95C69}" presName="level3hierChild" presStyleCnt="0"/>
      <dgm:spPr/>
    </dgm:pt>
    <dgm:pt modelId="{CCD76BBE-16BA-3447-AF15-03F3441B55AD}" type="pres">
      <dgm:prSet presAssocID="{6FB626A3-0635-4A40-8064-B6659747B06F}" presName="conn2-1" presStyleLbl="parChTrans1D3" presStyleIdx="6" presStyleCnt="7"/>
      <dgm:spPr/>
      <dgm:t>
        <a:bodyPr/>
        <a:lstStyle/>
        <a:p>
          <a:endParaRPr lang="en-US"/>
        </a:p>
      </dgm:t>
    </dgm:pt>
    <dgm:pt modelId="{AD8F9B8E-018C-054A-B97D-FBECFE597801}" type="pres">
      <dgm:prSet presAssocID="{6FB626A3-0635-4A40-8064-B6659747B06F}" presName="connTx" presStyleLbl="parChTrans1D3" presStyleIdx="6" presStyleCnt="7"/>
      <dgm:spPr/>
      <dgm:t>
        <a:bodyPr/>
        <a:lstStyle/>
        <a:p>
          <a:endParaRPr lang="en-US"/>
        </a:p>
      </dgm:t>
    </dgm:pt>
    <dgm:pt modelId="{C35135C3-F352-5545-9DEB-AC50DA3A0CA1}" type="pres">
      <dgm:prSet presAssocID="{652F4E1E-660A-B740-AED5-C1F922C2C143}" presName="root2" presStyleCnt="0"/>
      <dgm:spPr/>
    </dgm:pt>
    <dgm:pt modelId="{24B83D71-5D91-0247-80A8-8B1C991ECC40}" type="pres">
      <dgm:prSet presAssocID="{652F4E1E-660A-B740-AED5-C1F922C2C143}" presName="LevelTwoTextNode" presStyleLbl="node3" presStyleIdx="6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FF04AD-13B4-2548-B1D8-826DAD8214D4}" type="pres">
      <dgm:prSet presAssocID="{652F4E1E-660A-B740-AED5-C1F922C2C143}" presName="level3hierChild" presStyleCnt="0"/>
      <dgm:spPr/>
    </dgm:pt>
  </dgm:ptLst>
  <dgm:cxnLst>
    <dgm:cxn modelId="{B3192A5F-9751-244D-9006-A84FC1F4A3DD}" type="presOf" srcId="{35008F71-FB15-4B44-AF9C-917F65B95C69}" destId="{F105AE0F-302C-854F-BE92-46037C6103ED}" srcOrd="0" destOrd="0" presId="urn:microsoft.com/office/officeart/2005/8/layout/hierarchy2"/>
    <dgm:cxn modelId="{D36A2E4A-DF64-174E-B4A9-3B81F25EFB0B}" type="presOf" srcId="{466F315B-3A88-3F42-944D-EEBDA6415AB3}" destId="{78DB4C44-9340-FD4F-B721-E84FA0D4F86D}" srcOrd="1" destOrd="0" presId="urn:microsoft.com/office/officeart/2005/8/layout/hierarchy2"/>
    <dgm:cxn modelId="{42461E4A-8261-474E-9C13-9E5467F50B18}" type="presOf" srcId="{01D60FF1-0BF4-9449-927E-A7021BC202FF}" destId="{B69C7459-EB00-394A-AF0E-5F96FF99B8FF}" srcOrd="0" destOrd="0" presId="urn:microsoft.com/office/officeart/2005/8/layout/hierarchy2"/>
    <dgm:cxn modelId="{DA2C37AB-406E-D94E-851E-78AB3E4A1236}" srcId="{295D51C3-260F-3A4F-9553-99AC118E655E}" destId="{AEA89958-F8C6-2E46-9155-C6CE8377BAE0}" srcOrd="1" destOrd="0" parTransId="{8929CBC5-3838-C742-A9E1-2A48EAD79778}" sibTransId="{FA3FF2C3-6C7D-3D43-9306-997E0367FBA0}"/>
    <dgm:cxn modelId="{0B56C938-03EC-154D-B4CA-8EC4E8D51002}" type="presOf" srcId="{991522CD-CB8B-E949-A317-FB242A4209D8}" destId="{902E0583-CDD0-1B42-B5DA-5C52366AEB5A}" srcOrd="0" destOrd="0" presId="urn:microsoft.com/office/officeart/2005/8/layout/hierarchy2"/>
    <dgm:cxn modelId="{60EA9A37-8056-7B44-8E62-68942717420F}" type="presOf" srcId="{9092C019-A176-5D48-9CD4-C906D910F305}" destId="{3286D183-28A0-0349-A31C-368A3BD4F6D5}" srcOrd="1" destOrd="0" presId="urn:microsoft.com/office/officeart/2005/8/layout/hierarchy2"/>
    <dgm:cxn modelId="{FDAD136F-FBE5-0E49-943E-219ABCB028D5}" type="presOf" srcId="{7213CDF3-FC1B-3A44-A9BE-248F294166AC}" destId="{7DC07589-024E-9349-B38A-888B02D4CBD1}" srcOrd="0" destOrd="0" presId="urn:microsoft.com/office/officeart/2005/8/layout/hierarchy2"/>
    <dgm:cxn modelId="{58D97758-018C-B74D-BE7F-436E960A878F}" type="presOf" srcId="{6FB626A3-0635-4A40-8064-B6659747B06F}" destId="{CCD76BBE-16BA-3447-AF15-03F3441B55AD}" srcOrd="0" destOrd="0" presId="urn:microsoft.com/office/officeart/2005/8/layout/hierarchy2"/>
    <dgm:cxn modelId="{95FE11E0-0C58-B74C-9AE1-E6C904D34680}" type="presOf" srcId="{ABA19561-9D23-5842-84A1-9EC889FC55F9}" destId="{E090A8BB-9160-6D47-8760-0743085B67EE}" srcOrd="0" destOrd="0" presId="urn:microsoft.com/office/officeart/2005/8/layout/hierarchy2"/>
    <dgm:cxn modelId="{56C7E016-EDA1-DC48-9960-9F5BE90B98A4}" type="presOf" srcId="{1EADCADB-9696-D147-B6CC-021B39661623}" destId="{2A07D56A-492D-884A-94E7-013C5F05FDE0}" srcOrd="1" destOrd="0" presId="urn:microsoft.com/office/officeart/2005/8/layout/hierarchy2"/>
    <dgm:cxn modelId="{A685C740-6FAF-534D-B626-85A040BF11EC}" type="presOf" srcId="{1EADCADB-9696-D147-B6CC-021B39661623}" destId="{7CF2B8CE-009F-B942-A888-0330C8566634}" srcOrd="0" destOrd="0" presId="urn:microsoft.com/office/officeart/2005/8/layout/hierarchy2"/>
    <dgm:cxn modelId="{1110BC7F-6B96-994D-82A0-DAEBC6B66133}" type="presOf" srcId="{ABA19561-9D23-5842-84A1-9EC889FC55F9}" destId="{12975B05-778E-4F41-87DA-BCC219D8460C}" srcOrd="1" destOrd="0" presId="urn:microsoft.com/office/officeart/2005/8/layout/hierarchy2"/>
    <dgm:cxn modelId="{82E85B3E-C38D-3E4A-B38F-3B5F1CD6B518}" type="presOf" srcId="{D83CB6B2-089A-6442-8102-501A710454ED}" destId="{52A2FD0F-3617-494C-9C35-9DE8D0703D29}" srcOrd="0" destOrd="0" presId="urn:microsoft.com/office/officeart/2005/8/layout/hierarchy2"/>
    <dgm:cxn modelId="{0C90F58D-D698-F340-853F-DDDDB7887B76}" srcId="{ACC9D52B-07F7-E84E-99E0-0A53BC35920F}" destId="{295D51C3-260F-3A4F-9553-99AC118E655E}" srcOrd="0" destOrd="0" parTransId="{466F315B-3A88-3F42-944D-EEBDA6415AB3}" sibTransId="{91862732-218D-E844-846E-DC954DABE88B}"/>
    <dgm:cxn modelId="{69621808-592A-5649-BF9C-1BDF27D233C3}" srcId="{9E03651C-DCF3-DE4A-8668-873CFCE31E86}" destId="{35008F71-FB15-4B44-AF9C-917F65B95C69}" srcOrd="1" destOrd="0" parTransId="{ABA19561-9D23-5842-84A1-9EC889FC55F9}" sibTransId="{7E29BF2A-0558-5844-901E-0B6A9D5D6FAA}"/>
    <dgm:cxn modelId="{3C4C8A8C-63EA-DF46-B224-DA4346373559}" srcId="{ACC9D52B-07F7-E84E-99E0-0A53BC35920F}" destId="{9E03651C-DCF3-DE4A-8668-873CFCE31E86}" srcOrd="1" destOrd="0" parTransId="{7213CDF3-FC1B-3A44-A9BE-248F294166AC}" sibTransId="{C9FDB78E-81CA-814A-957D-4AE736042311}"/>
    <dgm:cxn modelId="{BF0A6A3B-30F5-D94B-9B13-095225BDC5C9}" srcId="{295D51C3-260F-3A4F-9553-99AC118E655E}" destId="{991522CD-CB8B-E949-A317-FB242A4209D8}" srcOrd="2" destOrd="0" parTransId="{9092C019-A176-5D48-9CD4-C906D910F305}" sibTransId="{63FADE6E-774D-3D4E-B965-71E776D97C1B}"/>
    <dgm:cxn modelId="{245A0D33-A9E4-C046-8B6D-3A998FC5E161}" type="presOf" srcId="{9E03651C-DCF3-DE4A-8668-873CFCE31E86}" destId="{17B50BD4-4FCC-3B4B-903B-3E5D2672D128}" srcOrd="0" destOrd="0" presId="urn:microsoft.com/office/officeart/2005/8/layout/hierarchy2"/>
    <dgm:cxn modelId="{E4FFB93C-C7C3-8242-B0EA-6D77F9D4285B}" type="presOf" srcId="{885CD087-09B3-F14D-9FB6-B7F04B9FE133}" destId="{804D488D-AD7F-1740-9CE7-C18624CBBE12}" srcOrd="1" destOrd="0" presId="urn:microsoft.com/office/officeart/2005/8/layout/hierarchy2"/>
    <dgm:cxn modelId="{7AC2C070-51E9-7243-BE7C-97B5C7192444}" type="presOf" srcId="{88FA79E7-B9F2-384C-B21C-CFEBA4859EE7}" destId="{1D4D2001-07E3-1D48-AF4F-E1253E2697A7}" srcOrd="0" destOrd="0" presId="urn:microsoft.com/office/officeart/2005/8/layout/hierarchy2"/>
    <dgm:cxn modelId="{7640AEDA-FD9D-BD46-BDAE-C9E27AF2E9BA}" srcId="{660442F1-200A-E742-BDE8-E10E66F8079E}" destId="{ACC9D52B-07F7-E84E-99E0-0A53BC35920F}" srcOrd="0" destOrd="0" parTransId="{FEDA2D47-2F96-F94B-B202-AFEEC7419E0E}" sibTransId="{4725C14E-0F10-7446-A0C8-9719A2601E68}"/>
    <dgm:cxn modelId="{763ACEFD-DAB6-F749-86CA-F44EECDA9472}" type="presOf" srcId="{8929CBC5-3838-C742-A9E1-2A48EAD79778}" destId="{11879A55-2D4A-0741-A0DA-498ED35EF3ED}" srcOrd="1" destOrd="0" presId="urn:microsoft.com/office/officeart/2005/8/layout/hierarchy2"/>
    <dgm:cxn modelId="{D97567CE-E2F6-DD48-91C7-9DB6A328F79E}" srcId="{9E03651C-DCF3-DE4A-8668-873CFCE31E86}" destId="{652F4E1E-660A-B740-AED5-C1F922C2C143}" srcOrd="2" destOrd="0" parTransId="{6FB626A3-0635-4A40-8064-B6659747B06F}" sibTransId="{1214A971-EF31-BD42-AA48-D5F60092C5F3}"/>
    <dgm:cxn modelId="{37ABEB4D-24E9-F349-B35D-B658F7E9EFDD}" type="presOf" srcId="{815A5A2C-60E9-5241-9BE2-4AEC352E9AF2}" destId="{F08A2A5D-30BD-1240-B3AA-C4F4575146CD}" srcOrd="1" destOrd="0" presId="urn:microsoft.com/office/officeart/2005/8/layout/hierarchy2"/>
    <dgm:cxn modelId="{70B3F5D5-BEEB-6948-AD2B-7C3E32838DAA}" type="presOf" srcId="{652F4E1E-660A-B740-AED5-C1F922C2C143}" destId="{24B83D71-5D91-0247-80A8-8B1C991ECC40}" srcOrd="0" destOrd="0" presId="urn:microsoft.com/office/officeart/2005/8/layout/hierarchy2"/>
    <dgm:cxn modelId="{6F501089-521C-3A46-A0EB-BEDF6E050AD3}" type="presOf" srcId="{9092C019-A176-5D48-9CD4-C906D910F305}" destId="{5441D79C-5AD1-6845-9D4D-68A5FAC518E1}" srcOrd="0" destOrd="0" presId="urn:microsoft.com/office/officeart/2005/8/layout/hierarchy2"/>
    <dgm:cxn modelId="{A5DFB9C7-D897-C641-971B-5A40C1B83FA6}" type="presOf" srcId="{295D51C3-260F-3A4F-9553-99AC118E655E}" destId="{36CD2B8C-99A0-CC41-8401-08769ED4AD9C}" srcOrd="0" destOrd="0" presId="urn:microsoft.com/office/officeart/2005/8/layout/hierarchy2"/>
    <dgm:cxn modelId="{B33DAFB0-E105-CB43-8527-110B9E0BC60D}" type="presOf" srcId="{815A5A2C-60E9-5241-9BE2-4AEC352E9AF2}" destId="{5954F0F4-C38E-F84D-A58F-D1E547033822}" srcOrd="0" destOrd="0" presId="urn:microsoft.com/office/officeart/2005/8/layout/hierarchy2"/>
    <dgm:cxn modelId="{E85C37D2-ECDD-8B43-9CDE-D24BB3403A0E}" type="presOf" srcId="{7213CDF3-FC1B-3A44-A9BE-248F294166AC}" destId="{5F9595F7-6096-B847-9FF2-9E4DD0F0B40D}" srcOrd="1" destOrd="0" presId="urn:microsoft.com/office/officeart/2005/8/layout/hierarchy2"/>
    <dgm:cxn modelId="{2C738A70-5D81-3F4D-8942-71BDEBCC540C}" type="presOf" srcId="{660442F1-200A-E742-BDE8-E10E66F8079E}" destId="{E322930C-E758-FE40-94FF-DBDEB8747C6D}" srcOrd="0" destOrd="0" presId="urn:microsoft.com/office/officeart/2005/8/layout/hierarchy2"/>
    <dgm:cxn modelId="{3262F67C-A2C7-8346-8FD5-6B25BCA1851D}" srcId="{295D51C3-260F-3A4F-9553-99AC118E655E}" destId="{01D60FF1-0BF4-9449-927E-A7021BC202FF}" srcOrd="0" destOrd="0" parTransId="{1EADCADB-9696-D147-B6CC-021B39661623}" sibTransId="{60FEE563-1E33-2E4D-A2F6-310C3D3C8E47}"/>
    <dgm:cxn modelId="{18D0F237-D58A-514F-869A-905BF3E3508D}" srcId="{295D51C3-260F-3A4F-9553-99AC118E655E}" destId="{88FA79E7-B9F2-384C-B21C-CFEBA4859EE7}" srcOrd="3" destOrd="0" parTransId="{815A5A2C-60E9-5241-9BE2-4AEC352E9AF2}" sibTransId="{B04318C1-3D6B-5247-89E7-418B85F57BCD}"/>
    <dgm:cxn modelId="{8677704B-0FFE-C24E-8771-AA1918A7FC65}" type="presOf" srcId="{AEA89958-F8C6-2E46-9155-C6CE8377BAE0}" destId="{67B08EC8-2AA7-5D40-BB57-49059FC7754E}" srcOrd="0" destOrd="0" presId="urn:microsoft.com/office/officeart/2005/8/layout/hierarchy2"/>
    <dgm:cxn modelId="{68DAD76E-9A46-A743-834A-B24E4E693176}" type="presOf" srcId="{466F315B-3A88-3F42-944D-EEBDA6415AB3}" destId="{F8777F46-2F08-6641-984E-094EE2BFEEE1}" srcOrd="0" destOrd="0" presId="urn:microsoft.com/office/officeart/2005/8/layout/hierarchy2"/>
    <dgm:cxn modelId="{78A6A2FF-48B8-F14C-9E77-36EE6D85402E}" srcId="{9E03651C-DCF3-DE4A-8668-873CFCE31E86}" destId="{D83CB6B2-089A-6442-8102-501A710454ED}" srcOrd="0" destOrd="0" parTransId="{885CD087-09B3-F14D-9FB6-B7F04B9FE133}" sibTransId="{C71ECAEC-7CB9-EA4E-9173-00D75000230C}"/>
    <dgm:cxn modelId="{F0143687-3642-C249-A462-7DBFD061EE04}" type="presOf" srcId="{6FB626A3-0635-4A40-8064-B6659747B06F}" destId="{AD8F9B8E-018C-054A-B97D-FBECFE597801}" srcOrd="1" destOrd="0" presId="urn:microsoft.com/office/officeart/2005/8/layout/hierarchy2"/>
    <dgm:cxn modelId="{96C333B8-B6DA-794F-BB7A-07D6160442B2}" type="presOf" srcId="{8929CBC5-3838-C742-A9E1-2A48EAD79778}" destId="{940417C7-F1CC-D141-B312-D9F73101A070}" srcOrd="0" destOrd="0" presId="urn:microsoft.com/office/officeart/2005/8/layout/hierarchy2"/>
    <dgm:cxn modelId="{A9DFF593-A398-1B4C-99A2-19E9B982F619}" type="presOf" srcId="{885CD087-09B3-F14D-9FB6-B7F04B9FE133}" destId="{9D33C54A-7F5D-CC47-8940-D2B3953BCD86}" srcOrd="0" destOrd="0" presId="urn:microsoft.com/office/officeart/2005/8/layout/hierarchy2"/>
    <dgm:cxn modelId="{E3FD1A0C-7AD8-A04E-B54F-B1B188560D0A}" type="presOf" srcId="{ACC9D52B-07F7-E84E-99E0-0A53BC35920F}" destId="{A20EEA70-2DD0-5242-9F4B-FCF0157721A5}" srcOrd="0" destOrd="0" presId="urn:microsoft.com/office/officeart/2005/8/layout/hierarchy2"/>
    <dgm:cxn modelId="{00858F98-1CB8-4949-AA3E-A7539201AC18}" type="presParOf" srcId="{E322930C-E758-FE40-94FF-DBDEB8747C6D}" destId="{9AC69C6E-9EA5-2449-93D3-BC388C2CDD1D}" srcOrd="0" destOrd="0" presId="urn:microsoft.com/office/officeart/2005/8/layout/hierarchy2"/>
    <dgm:cxn modelId="{7E0AB062-4390-714D-957F-643B844F5AF7}" type="presParOf" srcId="{9AC69C6E-9EA5-2449-93D3-BC388C2CDD1D}" destId="{A20EEA70-2DD0-5242-9F4B-FCF0157721A5}" srcOrd="0" destOrd="0" presId="urn:microsoft.com/office/officeart/2005/8/layout/hierarchy2"/>
    <dgm:cxn modelId="{D6D41B78-4691-7249-86A3-CBD9076B3565}" type="presParOf" srcId="{9AC69C6E-9EA5-2449-93D3-BC388C2CDD1D}" destId="{A20219C7-56B8-2543-BB91-398B91C08D87}" srcOrd="1" destOrd="0" presId="urn:microsoft.com/office/officeart/2005/8/layout/hierarchy2"/>
    <dgm:cxn modelId="{56E647A1-4DF4-DB47-A70B-48EA6E0941E5}" type="presParOf" srcId="{A20219C7-56B8-2543-BB91-398B91C08D87}" destId="{F8777F46-2F08-6641-984E-094EE2BFEEE1}" srcOrd="0" destOrd="0" presId="urn:microsoft.com/office/officeart/2005/8/layout/hierarchy2"/>
    <dgm:cxn modelId="{71F678FF-65FA-8E4F-9C07-31BD7624F28C}" type="presParOf" srcId="{F8777F46-2F08-6641-984E-094EE2BFEEE1}" destId="{78DB4C44-9340-FD4F-B721-E84FA0D4F86D}" srcOrd="0" destOrd="0" presId="urn:microsoft.com/office/officeart/2005/8/layout/hierarchy2"/>
    <dgm:cxn modelId="{E5A68668-1FB9-BC48-B987-19A0E2A629FE}" type="presParOf" srcId="{A20219C7-56B8-2543-BB91-398B91C08D87}" destId="{4586F9E8-6542-D942-B069-5AC45781DBD3}" srcOrd="1" destOrd="0" presId="urn:microsoft.com/office/officeart/2005/8/layout/hierarchy2"/>
    <dgm:cxn modelId="{7FEA8E34-CC66-064B-B2F6-8C7606F7AACE}" type="presParOf" srcId="{4586F9E8-6542-D942-B069-5AC45781DBD3}" destId="{36CD2B8C-99A0-CC41-8401-08769ED4AD9C}" srcOrd="0" destOrd="0" presId="urn:microsoft.com/office/officeart/2005/8/layout/hierarchy2"/>
    <dgm:cxn modelId="{E9EA1FEF-B7CC-894A-AFED-DA6045B2A2F1}" type="presParOf" srcId="{4586F9E8-6542-D942-B069-5AC45781DBD3}" destId="{E31F92FD-4D4B-1C48-A9A1-1417CE5DC5AB}" srcOrd="1" destOrd="0" presId="urn:microsoft.com/office/officeart/2005/8/layout/hierarchy2"/>
    <dgm:cxn modelId="{8E2EBEA9-159F-1B4E-8251-BD8B7CDE8518}" type="presParOf" srcId="{E31F92FD-4D4B-1C48-A9A1-1417CE5DC5AB}" destId="{7CF2B8CE-009F-B942-A888-0330C8566634}" srcOrd="0" destOrd="0" presId="urn:microsoft.com/office/officeart/2005/8/layout/hierarchy2"/>
    <dgm:cxn modelId="{8E717524-D2FD-0B42-911E-4C7F28D2E11F}" type="presParOf" srcId="{7CF2B8CE-009F-B942-A888-0330C8566634}" destId="{2A07D56A-492D-884A-94E7-013C5F05FDE0}" srcOrd="0" destOrd="0" presId="urn:microsoft.com/office/officeart/2005/8/layout/hierarchy2"/>
    <dgm:cxn modelId="{56546763-D3BA-534D-B069-237C87F43C7A}" type="presParOf" srcId="{E31F92FD-4D4B-1C48-A9A1-1417CE5DC5AB}" destId="{736E160A-B9D4-514F-B858-59AD769D2120}" srcOrd="1" destOrd="0" presId="urn:microsoft.com/office/officeart/2005/8/layout/hierarchy2"/>
    <dgm:cxn modelId="{9F38A872-9060-664C-ADD5-91C6F53DBC8B}" type="presParOf" srcId="{736E160A-B9D4-514F-B858-59AD769D2120}" destId="{B69C7459-EB00-394A-AF0E-5F96FF99B8FF}" srcOrd="0" destOrd="0" presId="urn:microsoft.com/office/officeart/2005/8/layout/hierarchy2"/>
    <dgm:cxn modelId="{0B988158-FE25-F34A-94C7-4801FCED2948}" type="presParOf" srcId="{736E160A-B9D4-514F-B858-59AD769D2120}" destId="{42907A92-18BD-3B49-9FEB-F8DA656CB910}" srcOrd="1" destOrd="0" presId="urn:microsoft.com/office/officeart/2005/8/layout/hierarchy2"/>
    <dgm:cxn modelId="{A934D326-6275-5047-A74E-FE8E949C9B2F}" type="presParOf" srcId="{E31F92FD-4D4B-1C48-A9A1-1417CE5DC5AB}" destId="{940417C7-F1CC-D141-B312-D9F73101A070}" srcOrd="2" destOrd="0" presId="urn:microsoft.com/office/officeart/2005/8/layout/hierarchy2"/>
    <dgm:cxn modelId="{C987A7FA-038A-CA44-B254-988CC8DA3450}" type="presParOf" srcId="{940417C7-F1CC-D141-B312-D9F73101A070}" destId="{11879A55-2D4A-0741-A0DA-498ED35EF3ED}" srcOrd="0" destOrd="0" presId="urn:microsoft.com/office/officeart/2005/8/layout/hierarchy2"/>
    <dgm:cxn modelId="{37D25365-A719-F144-BCE0-032C222F897A}" type="presParOf" srcId="{E31F92FD-4D4B-1C48-A9A1-1417CE5DC5AB}" destId="{506CF875-57E4-EA43-A758-70763F7CF03C}" srcOrd="3" destOrd="0" presId="urn:microsoft.com/office/officeart/2005/8/layout/hierarchy2"/>
    <dgm:cxn modelId="{CA2E74B9-303E-5248-9358-127DB1AD8569}" type="presParOf" srcId="{506CF875-57E4-EA43-A758-70763F7CF03C}" destId="{67B08EC8-2AA7-5D40-BB57-49059FC7754E}" srcOrd="0" destOrd="0" presId="urn:microsoft.com/office/officeart/2005/8/layout/hierarchy2"/>
    <dgm:cxn modelId="{17B2B11F-EABA-0644-A0C6-19F6B3E51E70}" type="presParOf" srcId="{506CF875-57E4-EA43-A758-70763F7CF03C}" destId="{89A30089-0C2E-314D-B611-A3691E166BF2}" srcOrd="1" destOrd="0" presId="urn:microsoft.com/office/officeart/2005/8/layout/hierarchy2"/>
    <dgm:cxn modelId="{95114521-D479-C64D-A9CC-6329110D87F6}" type="presParOf" srcId="{E31F92FD-4D4B-1C48-A9A1-1417CE5DC5AB}" destId="{5441D79C-5AD1-6845-9D4D-68A5FAC518E1}" srcOrd="4" destOrd="0" presId="urn:microsoft.com/office/officeart/2005/8/layout/hierarchy2"/>
    <dgm:cxn modelId="{1F7524F4-BBE6-DA4A-80CA-869EFA722437}" type="presParOf" srcId="{5441D79C-5AD1-6845-9D4D-68A5FAC518E1}" destId="{3286D183-28A0-0349-A31C-368A3BD4F6D5}" srcOrd="0" destOrd="0" presId="urn:microsoft.com/office/officeart/2005/8/layout/hierarchy2"/>
    <dgm:cxn modelId="{E6624C30-C575-5647-B635-2E469EA14886}" type="presParOf" srcId="{E31F92FD-4D4B-1C48-A9A1-1417CE5DC5AB}" destId="{9F0195A3-C2A1-D443-A62E-C3D5762ED7A6}" srcOrd="5" destOrd="0" presId="urn:microsoft.com/office/officeart/2005/8/layout/hierarchy2"/>
    <dgm:cxn modelId="{09997687-D7C0-3F4C-B770-27F07D38240E}" type="presParOf" srcId="{9F0195A3-C2A1-D443-A62E-C3D5762ED7A6}" destId="{902E0583-CDD0-1B42-B5DA-5C52366AEB5A}" srcOrd="0" destOrd="0" presId="urn:microsoft.com/office/officeart/2005/8/layout/hierarchy2"/>
    <dgm:cxn modelId="{36A45F58-CA38-574C-85D3-3FCCAB01C450}" type="presParOf" srcId="{9F0195A3-C2A1-D443-A62E-C3D5762ED7A6}" destId="{AA3BCAE1-CAAD-C142-87FB-A202789CB352}" srcOrd="1" destOrd="0" presId="urn:microsoft.com/office/officeart/2005/8/layout/hierarchy2"/>
    <dgm:cxn modelId="{F4CFCF95-2BB8-0544-82FF-4251843996CD}" type="presParOf" srcId="{E31F92FD-4D4B-1C48-A9A1-1417CE5DC5AB}" destId="{5954F0F4-C38E-F84D-A58F-D1E547033822}" srcOrd="6" destOrd="0" presId="urn:microsoft.com/office/officeart/2005/8/layout/hierarchy2"/>
    <dgm:cxn modelId="{90FC4CBB-1AD1-264D-900A-8DF4A56EC2D7}" type="presParOf" srcId="{5954F0F4-C38E-F84D-A58F-D1E547033822}" destId="{F08A2A5D-30BD-1240-B3AA-C4F4575146CD}" srcOrd="0" destOrd="0" presId="urn:microsoft.com/office/officeart/2005/8/layout/hierarchy2"/>
    <dgm:cxn modelId="{0D023847-86D3-AA46-8C3F-C384EE45D22C}" type="presParOf" srcId="{E31F92FD-4D4B-1C48-A9A1-1417CE5DC5AB}" destId="{EECEA0F0-6A1C-E948-8B96-C52BCE38053B}" srcOrd="7" destOrd="0" presId="urn:microsoft.com/office/officeart/2005/8/layout/hierarchy2"/>
    <dgm:cxn modelId="{EAED3B97-7642-8542-B4B7-CAB7C8CDCA03}" type="presParOf" srcId="{EECEA0F0-6A1C-E948-8B96-C52BCE38053B}" destId="{1D4D2001-07E3-1D48-AF4F-E1253E2697A7}" srcOrd="0" destOrd="0" presId="urn:microsoft.com/office/officeart/2005/8/layout/hierarchy2"/>
    <dgm:cxn modelId="{4E8C7409-AEEB-6742-9B11-C9F088E4A851}" type="presParOf" srcId="{EECEA0F0-6A1C-E948-8B96-C52BCE38053B}" destId="{79323AD1-D9A3-4447-802B-77C688EB983B}" srcOrd="1" destOrd="0" presId="urn:microsoft.com/office/officeart/2005/8/layout/hierarchy2"/>
    <dgm:cxn modelId="{4BDA8DD4-7DBC-844C-85C5-4886665AD7D1}" type="presParOf" srcId="{A20219C7-56B8-2543-BB91-398B91C08D87}" destId="{7DC07589-024E-9349-B38A-888B02D4CBD1}" srcOrd="2" destOrd="0" presId="urn:microsoft.com/office/officeart/2005/8/layout/hierarchy2"/>
    <dgm:cxn modelId="{401DE6BF-C932-984E-8F74-1E78115049BE}" type="presParOf" srcId="{7DC07589-024E-9349-B38A-888B02D4CBD1}" destId="{5F9595F7-6096-B847-9FF2-9E4DD0F0B40D}" srcOrd="0" destOrd="0" presId="urn:microsoft.com/office/officeart/2005/8/layout/hierarchy2"/>
    <dgm:cxn modelId="{6266569C-20B4-2342-BCFA-9BC5C612F4F3}" type="presParOf" srcId="{A20219C7-56B8-2543-BB91-398B91C08D87}" destId="{659AC063-50AE-9741-897F-285CC23F2821}" srcOrd="3" destOrd="0" presId="urn:microsoft.com/office/officeart/2005/8/layout/hierarchy2"/>
    <dgm:cxn modelId="{7407BF4D-E29D-F448-837D-5671514BB4D9}" type="presParOf" srcId="{659AC063-50AE-9741-897F-285CC23F2821}" destId="{17B50BD4-4FCC-3B4B-903B-3E5D2672D128}" srcOrd="0" destOrd="0" presId="urn:microsoft.com/office/officeart/2005/8/layout/hierarchy2"/>
    <dgm:cxn modelId="{B798E1B9-B99D-BB44-B9EF-5A8D0AE3369A}" type="presParOf" srcId="{659AC063-50AE-9741-897F-285CC23F2821}" destId="{50375B45-F60E-1042-A593-B4E59C84C928}" srcOrd="1" destOrd="0" presId="urn:microsoft.com/office/officeart/2005/8/layout/hierarchy2"/>
    <dgm:cxn modelId="{5CF8E91E-68C5-9147-B7FD-E9222CD74E89}" type="presParOf" srcId="{50375B45-F60E-1042-A593-B4E59C84C928}" destId="{9D33C54A-7F5D-CC47-8940-D2B3953BCD86}" srcOrd="0" destOrd="0" presId="urn:microsoft.com/office/officeart/2005/8/layout/hierarchy2"/>
    <dgm:cxn modelId="{7DE5B0A3-C95A-3B41-B9DE-DF26563959E4}" type="presParOf" srcId="{9D33C54A-7F5D-CC47-8940-D2B3953BCD86}" destId="{804D488D-AD7F-1740-9CE7-C18624CBBE12}" srcOrd="0" destOrd="0" presId="urn:microsoft.com/office/officeart/2005/8/layout/hierarchy2"/>
    <dgm:cxn modelId="{196F55F1-B700-364B-84F7-6F3E50E62E4F}" type="presParOf" srcId="{50375B45-F60E-1042-A593-B4E59C84C928}" destId="{C8B0A933-B795-834D-953C-FE0D06F2078E}" srcOrd="1" destOrd="0" presId="urn:microsoft.com/office/officeart/2005/8/layout/hierarchy2"/>
    <dgm:cxn modelId="{45FCE7AA-4C3D-F74E-911D-FAF696859A01}" type="presParOf" srcId="{C8B0A933-B795-834D-953C-FE0D06F2078E}" destId="{52A2FD0F-3617-494C-9C35-9DE8D0703D29}" srcOrd="0" destOrd="0" presId="urn:microsoft.com/office/officeart/2005/8/layout/hierarchy2"/>
    <dgm:cxn modelId="{24BFACFC-E6AE-D547-AD03-2E79B5D49A83}" type="presParOf" srcId="{C8B0A933-B795-834D-953C-FE0D06F2078E}" destId="{26B0883B-21F4-8D4C-B221-8088AF57AAC8}" srcOrd="1" destOrd="0" presId="urn:microsoft.com/office/officeart/2005/8/layout/hierarchy2"/>
    <dgm:cxn modelId="{91F28A37-9D30-E44F-8B35-5AE3B3FD0CD5}" type="presParOf" srcId="{50375B45-F60E-1042-A593-B4E59C84C928}" destId="{E090A8BB-9160-6D47-8760-0743085B67EE}" srcOrd="2" destOrd="0" presId="urn:microsoft.com/office/officeart/2005/8/layout/hierarchy2"/>
    <dgm:cxn modelId="{5B37B3A2-64FF-C14A-9899-E25EB06206AA}" type="presParOf" srcId="{E090A8BB-9160-6D47-8760-0743085B67EE}" destId="{12975B05-778E-4F41-87DA-BCC219D8460C}" srcOrd="0" destOrd="0" presId="urn:microsoft.com/office/officeart/2005/8/layout/hierarchy2"/>
    <dgm:cxn modelId="{A587901C-6D10-144B-8E61-5F0CC61AE192}" type="presParOf" srcId="{50375B45-F60E-1042-A593-B4E59C84C928}" destId="{9E47C1A6-6D48-8643-9302-480F89B06A51}" srcOrd="3" destOrd="0" presId="urn:microsoft.com/office/officeart/2005/8/layout/hierarchy2"/>
    <dgm:cxn modelId="{B6C02761-B1CE-5A40-AB98-9EF13C5231AB}" type="presParOf" srcId="{9E47C1A6-6D48-8643-9302-480F89B06A51}" destId="{F105AE0F-302C-854F-BE92-46037C6103ED}" srcOrd="0" destOrd="0" presId="urn:microsoft.com/office/officeart/2005/8/layout/hierarchy2"/>
    <dgm:cxn modelId="{F1DA90AA-FDE8-BB4E-898E-E2A7BA43BBA8}" type="presParOf" srcId="{9E47C1A6-6D48-8643-9302-480F89B06A51}" destId="{0FB1FCFE-7E2F-C44C-9552-F912778C8765}" srcOrd="1" destOrd="0" presId="urn:microsoft.com/office/officeart/2005/8/layout/hierarchy2"/>
    <dgm:cxn modelId="{1C9FBDD6-5F32-E945-B5B2-199462F46F64}" type="presParOf" srcId="{50375B45-F60E-1042-A593-B4E59C84C928}" destId="{CCD76BBE-16BA-3447-AF15-03F3441B55AD}" srcOrd="4" destOrd="0" presId="urn:microsoft.com/office/officeart/2005/8/layout/hierarchy2"/>
    <dgm:cxn modelId="{0BE71697-654D-3B41-8E79-870380D32627}" type="presParOf" srcId="{CCD76BBE-16BA-3447-AF15-03F3441B55AD}" destId="{AD8F9B8E-018C-054A-B97D-FBECFE597801}" srcOrd="0" destOrd="0" presId="urn:microsoft.com/office/officeart/2005/8/layout/hierarchy2"/>
    <dgm:cxn modelId="{0394F50C-E036-F74F-ABCD-14DB2AE482F2}" type="presParOf" srcId="{50375B45-F60E-1042-A593-B4E59C84C928}" destId="{C35135C3-F352-5545-9DEB-AC50DA3A0CA1}" srcOrd="5" destOrd="0" presId="urn:microsoft.com/office/officeart/2005/8/layout/hierarchy2"/>
    <dgm:cxn modelId="{9D4EA6CE-5071-414C-A40F-378D3390649E}" type="presParOf" srcId="{C35135C3-F352-5545-9DEB-AC50DA3A0CA1}" destId="{24B83D71-5D91-0247-80A8-8B1C991ECC40}" srcOrd="0" destOrd="0" presId="urn:microsoft.com/office/officeart/2005/8/layout/hierarchy2"/>
    <dgm:cxn modelId="{3F965590-C6E0-DA47-B552-735D4E2ADAD1}" type="presParOf" srcId="{C35135C3-F352-5545-9DEB-AC50DA3A0CA1}" destId="{6DFF04AD-13B4-2548-B1D8-826DAD8214D4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5F680E4-A8D0-F84A-9799-C2D361E7E7D2}" type="doc">
      <dgm:prSet loTypeId="urn:microsoft.com/office/officeart/2005/8/layout/hierarchy2" loCatId="" qsTypeId="urn:microsoft.com/office/officeart/2005/8/quickstyle/3D4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CC0AB9C-D2B9-7D4C-8D55-A355B702A772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New Report</a:t>
          </a:r>
        </a:p>
      </dgm:t>
    </dgm:pt>
    <dgm:pt modelId="{7AFCC8E4-3C21-094B-BB83-730A74E3AACC}" type="parTrans" cxnId="{8B88DDDB-5EA8-434F-A4AD-D84BBB3390D7}">
      <dgm:prSet/>
      <dgm:spPr/>
      <dgm:t>
        <a:bodyPr/>
        <a:lstStyle/>
        <a:p>
          <a:endParaRPr lang="en-US"/>
        </a:p>
      </dgm:t>
    </dgm:pt>
    <dgm:pt modelId="{8D3C9D0C-96DD-4D45-A58A-4F35DA327AF8}" type="sibTrans" cxnId="{8B88DDDB-5EA8-434F-A4AD-D84BBB3390D7}">
      <dgm:prSet/>
      <dgm:spPr/>
      <dgm:t>
        <a:bodyPr/>
        <a:lstStyle/>
        <a:p>
          <a:endParaRPr lang="en-US"/>
        </a:p>
      </dgm:t>
    </dgm:pt>
    <dgm:pt modelId="{A6715175-161B-BE47-9F0D-86313D0A5860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Regulated</a:t>
          </a:r>
        </a:p>
      </dgm:t>
    </dgm:pt>
    <dgm:pt modelId="{ED686430-79D6-114E-BE14-F6019247F306}" type="parTrans" cxnId="{2A106673-08CB-3C41-B84A-0CF66F755B85}">
      <dgm:prSet/>
      <dgm:spPr/>
      <dgm:t>
        <a:bodyPr/>
        <a:lstStyle/>
        <a:p>
          <a:endParaRPr lang="en-US"/>
        </a:p>
      </dgm:t>
    </dgm:pt>
    <dgm:pt modelId="{C7E624C6-7F96-AE40-A06C-A30D24189C5A}" type="sibTrans" cxnId="{2A106673-08CB-3C41-B84A-0CF66F755B85}">
      <dgm:prSet/>
      <dgm:spPr/>
      <dgm:t>
        <a:bodyPr/>
        <a:lstStyle/>
        <a:p>
          <a:endParaRPr lang="en-US"/>
        </a:p>
      </dgm:t>
    </dgm:pt>
    <dgm:pt modelId="{6449BCB2-5A5D-EA4D-A895-E4CF618EBD7A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State Agency Contact</a:t>
          </a:r>
        </a:p>
      </dgm:t>
    </dgm:pt>
    <dgm:pt modelId="{B81F1E8F-2316-C347-9637-57E0453770D3}" type="parTrans" cxnId="{F16709E9-6B47-574D-BBD0-83EC5693B4E4}">
      <dgm:prSet/>
      <dgm:spPr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BBA2861D-2791-7B42-A0C4-CF8DD02F3005}" type="sibTrans" cxnId="{F16709E9-6B47-574D-BBD0-83EC5693B4E4}">
      <dgm:prSet/>
      <dgm:spPr/>
      <dgm:t>
        <a:bodyPr/>
        <a:lstStyle/>
        <a:p>
          <a:endParaRPr lang="en-US"/>
        </a:p>
      </dgm:t>
    </dgm:pt>
    <dgm:pt modelId="{205260D3-E2F4-C449-9B13-34ECFD3F2F74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Federal Agency Contact</a:t>
          </a:r>
        </a:p>
      </dgm:t>
    </dgm:pt>
    <dgm:pt modelId="{2F94670A-7ADA-EB4E-9227-9B3F08161E69}" type="parTrans" cxnId="{C295A8D0-F0E6-774E-B41B-7F9A93985406}">
      <dgm:prSet/>
      <dgm:spPr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6C7D7D70-19AB-5B4E-88B2-427B98DDF8BF}" type="sibTrans" cxnId="{C295A8D0-F0E6-774E-B41B-7F9A93985406}">
      <dgm:prSet/>
      <dgm:spPr/>
      <dgm:t>
        <a:bodyPr/>
        <a:lstStyle/>
        <a:p>
          <a:endParaRPr lang="en-US"/>
        </a:p>
      </dgm:t>
    </dgm:pt>
    <dgm:pt modelId="{AD93C16F-A656-8540-8950-9A84FB7592A4}">
      <dgm:prSet phldrT="[Text]"/>
      <dgm:spPr>
        <a:solidFill>
          <a:schemeClr val="accent1"/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Not regulated</a:t>
          </a:r>
        </a:p>
      </dgm:t>
    </dgm:pt>
    <dgm:pt modelId="{09C548B3-1445-BD4A-9D57-FF32B8115C3E}" type="parTrans" cxnId="{04BE4F69-2D03-0544-80B4-BFC2ABA87DC9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7C90DF1E-C411-AA49-BA1E-383905574CC2}" type="sibTrans" cxnId="{04BE4F69-2D03-0544-80B4-BFC2ABA87DC9}">
      <dgm:prSet/>
      <dgm:spPr/>
      <dgm:t>
        <a:bodyPr/>
        <a:lstStyle/>
        <a:p>
          <a:endParaRPr lang="en-US"/>
        </a:p>
      </dgm:t>
    </dgm:pt>
    <dgm:pt modelId="{0348B792-B687-0444-8635-5D9CA434B41F}">
      <dgm:prSet phldrT="[Text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Species</a:t>
          </a:r>
          <a:br>
            <a:rPr lang="en-US" dirty="0">
              <a:solidFill>
                <a:schemeClr val="tx1"/>
              </a:solidFill>
            </a:rPr>
          </a:br>
          <a:r>
            <a:rPr lang="en-US" dirty="0">
              <a:solidFill>
                <a:schemeClr val="tx1"/>
              </a:solidFill>
            </a:rPr>
            <a:t>Verifier</a:t>
          </a:r>
        </a:p>
      </dgm:t>
    </dgm:pt>
    <dgm:pt modelId="{472A0FC9-8EE2-EC43-B225-0C6139AA8963}" type="parTrans" cxnId="{E103059E-E48B-2C42-816D-D119E14E4580}">
      <dgm:prSet/>
      <dgm:spPr>
        <a:ln>
          <a:solidFill>
            <a:srgbClr val="4F81BD"/>
          </a:solidFill>
        </a:ln>
      </dgm:spPr>
      <dgm:t>
        <a:bodyPr/>
        <a:lstStyle/>
        <a:p>
          <a:endParaRPr lang="en-US"/>
        </a:p>
      </dgm:t>
    </dgm:pt>
    <dgm:pt modelId="{590A7E5C-5F0C-DA4D-BE24-2216A7BE0583}" type="sibTrans" cxnId="{E103059E-E48B-2C42-816D-D119E14E4580}">
      <dgm:prSet/>
      <dgm:spPr/>
      <dgm:t>
        <a:bodyPr/>
        <a:lstStyle/>
        <a:p>
          <a:endParaRPr lang="en-US"/>
        </a:p>
      </dgm:t>
    </dgm:pt>
    <dgm:pt modelId="{20CB01FB-F1A6-4940-99A7-E4123188EC8C}">
      <dgm:prSet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Location Verifier</a:t>
          </a:r>
        </a:p>
      </dgm:t>
    </dgm:pt>
    <dgm:pt modelId="{D5BB5B02-A3CC-6740-B2E1-31D721EF215B}" type="parTrans" cxnId="{34564817-90D2-C645-A1C3-9B9E4A721502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3B68D129-A7D5-DE43-818B-212CBAA24F3A}" type="sibTrans" cxnId="{34564817-90D2-C645-A1C3-9B9E4A721502}">
      <dgm:prSet/>
      <dgm:spPr/>
      <dgm:t>
        <a:bodyPr/>
        <a:lstStyle/>
        <a:p>
          <a:endParaRPr lang="en-US"/>
        </a:p>
      </dgm:t>
    </dgm:pt>
    <dgm:pt modelId="{A423C658-A0B3-C143-8A2F-AB890C309B38}">
      <dgm:prSet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Project</a:t>
          </a:r>
          <a:br>
            <a:rPr lang="en-US" dirty="0">
              <a:solidFill>
                <a:schemeClr val="tx1"/>
              </a:solidFill>
            </a:rPr>
          </a:br>
          <a:r>
            <a:rPr lang="en-US" dirty="0">
              <a:solidFill>
                <a:schemeClr val="tx1"/>
              </a:solidFill>
            </a:rPr>
            <a:t>Verifier</a:t>
          </a:r>
        </a:p>
      </dgm:t>
    </dgm:pt>
    <dgm:pt modelId="{A3157B26-C830-7640-B60B-B9C8F50CE7BF}" type="parTrans" cxnId="{02E8B546-A7FE-8743-8607-D1EA235D22F4}">
      <dgm:prSet/>
      <dgm:spPr>
        <a:ln>
          <a:solidFill>
            <a:srgbClr val="4F81BD"/>
          </a:solidFill>
        </a:ln>
      </dgm:spPr>
      <dgm:t>
        <a:bodyPr/>
        <a:lstStyle/>
        <a:p>
          <a:endParaRPr lang="en-US"/>
        </a:p>
      </dgm:t>
    </dgm:pt>
    <dgm:pt modelId="{5A285249-DF3A-A34B-A71B-98E36673F8B5}" type="sibTrans" cxnId="{02E8B546-A7FE-8743-8607-D1EA235D22F4}">
      <dgm:prSet/>
      <dgm:spPr/>
      <dgm:t>
        <a:bodyPr/>
        <a:lstStyle/>
        <a:p>
          <a:endParaRPr lang="en-US"/>
        </a:p>
      </dgm:t>
    </dgm:pt>
    <dgm:pt modelId="{A9EA6E8B-B048-4B41-B782-0C70C357922C}">
      <dgm:prSet/>
      <dgm:spPr>
        <a:solidFill>
          <a:schemeClr val="accent6"/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No Verifier</a:t>
          </a:r>
        </a:p>
      </dgm:t>
    </dgm:pt>
    <dgm:pt modelId="{8ABBF8F8-5E64-C041-8EF4-F551623AB1A1}" type="parTrans" cxnId="{867A3C6B-573B-3C47-8090-9C1143A90FEB}">
      <dgm:prSet/>
      <dgm:spPr>
        <a:ln>
          <a:solidFill>
            <a:srgbClr val="F79646"/>
          </a:solidFill>
        </a:ln>
      </dgm:spPr>
      <dgm:t>
        <a:bodyPr/>
        <a:lstStyle/>
        <a:p>
          <a:endParaRPr lang="en-US"/>
        </a:p>
      </dgm:t>
    </dgm:pt>
    <dgm:pt modelId="{4435F7D1-DF9D-C24E-A833-05800DF0F7F6}" type="sibTrans" cxnId="{867A3C6B-573B-3C47-8090-9C1143A90FEB}">
      <dgm:prSet/>
      <dgm:spPr/>
      <dgm:t>
        <a:bodyPr/>
        <a:lstStyle/>
        <a:p>
          <a:endParaRPr lang="en-US"/>
        </a:p>
      </dgm:t>
    </dgm:pt>
    <dgm:pt modelId="{BEB300DB-6C28-5644-B1CB-C54F580D49B0}">
      <dgm:prSet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EDDMapS Admin</a:t>
          </a:r>
        </a:p>
      </dgm:t>
    </dgm:pt>
    <dgm:pt modelId="{CA1A41BF-80BB-EB47-A54B-8AF0A4CD8531}" type="parTrans" cxnId="{85F4F219-DCD5-4446-9A03-149BFD0189EB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308B35D4-A227-214C-A4BB-3429269B386F}" type="sibTrans" cxnId="{85F4F219-DCD5-4446-9A03-149BFD0189EB}">
      <dgm:prSet/>
      <dgm:spPr/>
      <dgm:t>
        <a:bodyPr/>
        <a:lstStyle/>
        <a:p>
          <a:endParaRPr lang="en-US"/>
        </a:p>
      </dgm:t>
    </dgm:pt>
    <dgm:pt modelId="{AEEB40FC-4C9A-C84E-99DB-05670B708797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State Verifier</a:t>
          </a:r>
        </a:p>
      </dgm:t>
    </dgm:pt>
    <dgm:pt modelId="{3C85ED31-4682-8946-877C-AF0800A0B5FF}" type="parTrans" cxnId="{08B6D710-52BA-4842-9148-AA2962FFA873}">
      <dgm:prSet/>
      <dgm:spPr/>
      <dgm:t>
        <a:bodyPr/>
        <a:lstStyle/>
        <a:p>
          <a:endParaRPr lang="en-US"/>
        </a:p>
      </dgm:t>
    </dgm:pt>
    <dgm:pt modelId="{2012D47A-A5FC-C945-91C9-9A9299435DE3}" type="sibTrans" cxnId="{08B6D710-52BA-4842-9148-AA2962FFA873}">
      <dgm:prSet/>
      <dgm:spPr/>
      <dgm:t>
        <a:bodyPr/>
        <a:lstStyle/>
        <a:p>
          <a:endParaRPr lang="en-US"/>
        </a:p>
      </dgm:t>
    </dgm:pt>
    <dgm:pt modelId="{C034BB98-D626-BE47-95B6-FB03E6E4C580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County Verifier</a:t>
          </a:r>
        </a:p>
      </dgm:t>
    </dgm:pt>
    <dgm:pt modelId="{AA700291-9086-EF4B-93D8-6886ECFF3E94}" type="parTrans" cxnId="{A3CE505D-7301-AA45-A199-D46E7E41776C}">
      <dgm:prSet/>
      <dgm:spPr/>
      <dgm:t>
        <a:bodyPr/>
        <a:lstStyle/>
        <a:p>
          <a:endParaRPr lang="en-US"/>
        </a:p>
      </dgm:t>
    </dgm:pt>
    <dgm:pt modelId="{7B923C6D-62A7-9140-AF9C-A3C664D87AAF}" type="sibTrans" cxnId="{A3CE505D-7301-AA45-A199-D46E7E41776C}">
      <dgm:prSet/>
      <dgm:spPr/>
      <dgm:t>
        <a:bodyPr/>
        <a:lstStyle/>
        <a:p>
          <a:endParaRPr lang="en-US"/>
        </a:p>
      </dgm:t>
    </dgm:pt>
    <dgm:pt modelId="{0DDA0581-EC2E-6D49-8112-665F3CAAE921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Park/Site Verifier</a:t>
          </a:r>
        </a:p>
      </dgm:t>
    </dgm:pt>
    <dgm:pt modelId="{30A3185D-DFAA-CE4F-85C4-886866DEB6A7}" type="parTrans" cxnId="{C53D7215-DF96-2542-8D66-4D5AB5466056}">
      <dgm:prSet/>
      <dgm:spPr/>
      <dgm:t>
        <a:bodyPr/>
        <a:lstStyle/>
        <a:p>
          <a:endParaRPr lang="en-US"/>
        </a:p>
      </dgm:t>
    </dgm:pt>
    <dgm:pt modelId="{C279CCC0-8E2C-D844-8BDE-4447E2302F7C}" type="sibTrans" cxnId="{C53D7215-DF96-2542-8D66-4D5AB5466056}">
      <dgm:prSet/>
      <dgm:spPr/>
      <dgm:t>
        <a:bodyPr/>
        <a:lstStyle/>
        <a:p>
          <a:endParaRPr lang="en-US"/>
        </a:p>
      </dgm:t>
    </dgm:pt>
    <dgm:pt modelId="{3220495B-B3CF-8946-AD63-5BE22407BBDC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CISMA/CWMA Verifier</a:t>
          </a:r>
        </a:p>
      </dgm:t>
    </dgm:pt>
    <dgm:pt modelId="{22E1EC55-90A6-7B47-86F6-FEB6FC83E634}" type="parTrans" cxnId="{92F3C36D-4506-C946-A751-398F129617D4}">
      <dgm:prSet/>
      <dgm:spPr/>
      <dgm:t>
        <a:bodyPr/>
        <a:lstStyle/>
        <a:p>
          <a:endParaRPr lang="en-US"/>
        </a:p>
      </dgm:t>
    </dgm:pt>
    <dgm:pt modelId="{E9695265-76FE-024A-8F3C-C706AF8E8097}" type="sibTrans" cxnId="{92F3C36D-4506-C946-A751-398F129617D4}">
      <dgm:prSet/>
      <dgm:spPr/>
      <dgm:t>
        <a:bodyPr/>
        <a:lstStyle/>
        <a:p>
          <a:endParaRPr lang="en-US"/>
        </a:p>
      </dgm:t>
    </dgm:pt>
    <dgm:pt modelId="{7944AF19-56AF-1E4A-A848-3C03CE457CCB}" type="pres">
      <dgm:prSet presAssocID="{C5F680E4-A8D0-F84A-9799-C2D361E7E7D2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EC982F0-B4DA-A14C-8797-0DD036966F25}" type="pres">
      <dgm:prSet presAssocID="{ACC0AB9C-D2B9-7D4C-8D55-A355B702A772}" presName="root1" presStyleCnt="0"/>
      <dgm:spPr/>
    </dgm:pt>
    <dgm:pt modelId="{37142F21-9BD1-9946-AFB8-62FFCF2C26FF}" type="pres">
      <dgm:prSet presAssocID="{ACC0AB9C-D2B9-7D4C-8D55-A355B702A772}" presName="LevelOneTextNode" presStyleLbl="node0" presStyleIdx="0" presStyleCnt="1" custLinFactNeighborX="-259" custLinFactNeighborY="-6740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EB35EAD-C2F0-E34E-ACC8-7B6EC2465599}" type="pres">
      <dgm:prSet presAssocID="{ACC0AB9C-D2B9-7D4C-8D55-A355B702A772}" presName="level2hierChild" presStyleCnt="0"/>
      <dgm:spPr/>
    </dgm:pt>
    <dgm:pt modelId="{E8ECA722-F300-F74A-99EE-331F00A0DB12}" type="pres">
      <dgm:prSet presAssocID="{ED686430-79D6-114E-BE14-F6019247F306}" presName="conn2-1" presStyleLbl="parChTrans1D2" presStyleIdx="0" presStyleCnt="2"/>
      <dgm:spPr/>
      <dgm:t>
        <a:bodyPr/>
        <a:lstStyle/>
        <a:p>
          <a:endParaRPr lang="en-US"/>
        </a:p>
      </dgm:t>
    </dgm:pt>
    <dgm:pt modelId="{6C235E3E-A6DB-D843-BCA0-E05C93E0ED5B}" type="pres">
      <dgm:prSet presAssocID="{ED686430-79D6-114E-BE14-F6019247F306}" presName="connTx" presStyleLbl="parChTrans1D2" presStyleIdx="0" presStyleCnt="2"/>
      <dgm:spPr/>
      <dgm:t>
        <a:bodyPr/>
        <a:lstStyle/>
        <a:p>
          <a:endParaRPr lang="en-US"/>
        </a:p>
      </dgm:t>
    </dgm:pt>
    <dgm:pt modelId="{FD07E1C8-D024-7D41-9DD5-0A0DCD03E5F6}" type="pres">
      <dgm:prSet presAssocID="{A6715175-161B-BE47-9F0D-86313D0A5860}" presName="root2" presStyleCnt="0"/>
      <dgm:spPr/>
    </dgm:pt>
    <dgm:pt modelId="{1EDCABFC-12D5-954E-8ECE-685F981B3D5D}" type="pres">
      <dgm:prSet presAssocID="{A6715175-161B-BE47-9F0D-86313D0A5860}" presName="LevelTwoTextNode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A155A25-2A0D-F146-85D4-7BB6BBE147A0}" type="pres">
      <dgm:prSet presAssocID="{A6715175-161B-BE47-9F0D-86313D0A5860}" presName="level3hierChild" presStyleCnt="0"/>
      <dgm:spPr/>
    </dgm:pt>
    <dgm:pt modelId="{E9F0BD4E-8005-5E45-8C35-639AE4939F64}" type="pres">
      <dgm:prSet presAssocID="{B81F1E8F-2316-C347-9637-57E0453770D3}" presName="conn2-1" presStyleLbl="parChTrans1D3" presStyleIdx="0" presStyleCnt="6"/>
      <dgm:spPr/>
      <dgm:t>
        <a:bodyPr/>
        <a:lstStyle/>
        <a:p>
          <a:endParaRPr lang="en-US"/>
        </a:p>
      </dgm:t>
    </dgm:pt>
    <dgm:pt modelId="{C089A815-8D95-3544-9F6A-EB1A60BA0179}" type="pres">
      <dgm:prSet presAssocID="{B81F1E8F-2316-C347-9637-57E0453770D3}" presName="connTx" presStyleLbl="parChTrans1D3" presStyleIdx="0" presStyleCnt="6"/>
      <dgm:spPr/>
      <dgm:t>
        <a:bodyPr/>
        <a:lstStyle/>
        <a:p>
          <a:endParaRPr lang="en-US"/>
        </a:p>
      </dgm:t>
    </dgm:pt>
    <dgm:pt modelId="{AE2D94CA-9EEE-C843-B36B-39572162F2BB}" type="pres">
      <dgm:prSet presAssocID="{6449BCB2-5A5D-EA4D-A895-E4CF618EBD7A}" presName="root2" presStyleCnt="0"/>
      <dgm:spPr/>
    </dgm:pt>
    <dgm:pt modelId="{A786F87B-AFDF-EE49-8057-16F3F6CE3994}" type="pres">
      <dgm:prSet presAssocID="{6449BCB2-5A5D-EA4D-A895-E4CF618EBD7A}" presName="LevelTwoTextNode" presStyleLbl="node3" presStyleIdx="0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5795CF-5663-6249-8DC0-919F618786BB}" type="pres">
      <dgm:prSet presAssocID="{6449BCB2-5A5D-EA4D-A895-E4CF618EBD7A}" presName="level3hierChild" presStyleCnt="0"/>
      <dgm:spPr/>
    </dgm:pt>
    <dgm:pt modelId="{78ACF44E-DE7A-DC43-9D83-12BC3666F53A}" type="pres">
      <dgm:prSet presAssocID="{2F94670A-7ADA-EB4E-9227-9B3F08161E69}" presName="conn2-1" presStyleLbl="parChTrans1D3" presStyleIdx="1" presStyleCnt="6"/>
      <dgm:spPr/>
      <dgm:t>
        <a:bodyPr/>
        <a:lstStyle/>
        <a:p>
          <a:endParaRPr lang="en-US"/>
        </a:p>
      </dgm:t>
    </dgm:pt>
    <dgm:pt modelId="{415A4B68-5E85-4E42-AF5D-3A287D30E48E}" type="pres">
      <dgm:prSet presAssocID="{2F94670A-7ADA-EB4E-9227-9B3F08161E69}" presName="connTx" presStyleLbl="parChTrans1D3" presStyleIdx="1" presStyleCnt="6"/>
      <dgm:spPr/>
      <dgm:t>
        <a:bodyPr/>
        <a:lstStyle/>
        <a:p>
          <a:endParaRPr lang="en-US"/>
        </a:p>
      </dgm:t>
    </dgm:pt>
    <dgm:pt modelId="{38A17EA3-46A5-A249-8EC3-1B48DAC36794}" type="pres">
      <dgm:prSet presAssocID="{205260D3-E2F4-C449-9B13-34ECFD3F2F74}" presName="root2" presStyleCnt="0"/>
      <dgm:spPr/>
    </dgm:pt>
    <dgm:pt modelId="{6A6FE0C5-E01E-9C48-BAB4-744A6899D9AA}" type="pres">
      <dgm:prSet presAssocID="{205260D3-E2F4-C449-9B13-34ECFD3F2F74}" presName="LevelTwoTextNode" presStyleLbl="node3" presStyleIdx="1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F43AB9E-A5EF-504A-9E32-A9BC6FED902A}" type="pres">
      <dgm:prSet presAssocID="{205260D3-E2F4-C449-9B13-34ECFD3F2F74}" presName="level3hierChild" presStyleCnt="0"/>
      <dgm:spPr/>
    </dgm:pt>
    <dgm:pt modelId="{535CB6CD-6A72-914C-870C-6A68994EAA97}" type="pres">
      <dgm:prSet presAssocID="{09C548B3-1445-BD4A-9D57-FF32B8115C3E}" presName="conn2-1" presStyleLbl="parChTrans1D2" presStyleIdx="1" presStyleCnt="2"/>
      <dgm:spPr/>
      <dgm:t>
        <a:bodyPr/>
        <a:lstStyle/>
        <a:p>
          <a:endParaRPr lang="en-US"/>
        </a:p>
      </dgm:t>
    </dgm:pt>
    <dgm:pt modelId="{EF6F5AE3-E4D6-104A-8DD1-7E8B6ACCEC6F}" type="pres">
      <dgm:prSet presAssocID="{09C548B3-1445-BD4A-9D57-FF32B8115C3E}" presName="connTx" presStyleLbl="parChTrans1D2" presStyleIdx="1" presStyleCnt="2"/>
      <dgm:spPr/>
      <dgm:t>
        <a:bodyPr/>
        <a:lstStyle/>
        <a:p>
          <a:endParaRPr lang="en-US"/>
        </a:p>
      </dgm:t>
    </dgm:pt>
    <dgm:pt modelId="{9C37A1F9-6FDA-224E-8648-EA44E07CA840}" type="pres">
      <dgm:prSet presAssocID="{AD93C16F-A656-8540-8950-9A84FB7592A4}" presName="root2" presStyleCnt="0"/>
      <dgm:spPr/>
    </dgm:pt>
    <dgm:pt modelId="{2CC5F069-FE26-274E-939A-2408CA3CAA46}" type="pres">
      <dgm:prSet presAssocID="{AD93C16F-A656-8540-8950-9A84FB7592A4}" presName="LevelTwoTextNode" presStyleLbl="node2" presStyleIdx="1" presStyleCnt="2" custLinFactNeighborX="-12495" custLinFactNeighborY="-8660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8CED1D5-6922-EC4E-8D5B-BC16CF38EE34}" type="pres">
      <dgm:prSet presAssocID="{AD93C16F-A656-8540-8950-9A84FB7592A4}" presName="level3hierChild" presStyleCnt="0"/>
      <dgm:spPr/>
    </dgm:pt>
    <dgm:pt modelId="{9E1CCE80-8EEB-9B41-83D9-BCD6307D1277}" type="pres">
      <dgm:prSet presAssocID="{472A0FC9-8EE2-EC43-B225-0C6139AA8963}" presName="conn2-1" presStyleLbl="parChTrans1D3" presStyleIdx="2" presStyleCnt="6"/>
      <dgm:spPr/>
      <dgm:t>
        <a:bodyPr/>
        <a:lstStyle/>
        <a:p>
          <a:endParaRPr lang="en-US"/>
        </a:p>
      </dgm:t>
    </dgm:pt>
    <dgm:pt modelId="{1F855AFB-A712-9B41-871C-4C1E0FC57701}" type="pres">
      <dgm:prSet presAssocID="{472A0FC9-8EE2-EC43-B225-0C6139AA8963}" presName="connTx" presStyleLbl="parChTrans1D3" presStyleIdx="2" presStyleCnt="6"/>
      <dgm:spPr/>
      <dgm:t>
        <a:bodyPr/>
        <a:lstStyle/>
        <a:p>
          <a:endParaRPr lang="en-US"/>
        </a:p>
      </dgm:t>
    </dgm:pt>
    <dgm:pt modelId="{72F895DF-BD1F-684C-BA33-E9516649824C}" type="pres">
      <dgm:prSet presAssocID="{0348B792-B687-0444-8635-5D9CA434B41F}" presName="root2" presStyleCnt="0"/>
      <dgm:spPr/>
    </dgm:pt>
    <dgm:pt modelId="{26812E7E-0E6B-E347-9169-DE9F98D0DB3E}" type="pres">
      <dgm:prSet presAssocID="{0348B792-B687-0444-8635-5D9CA434B41F}" presName="LevelTwoTextNode" presStyleLbl="node3" presStyleIdx="2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E29453A-C6AF-E246-9D75-C52E2B279E61}" type="pres">
      <dgm:prSet presAssocID="{0348B792-B687-0444-8635-5D9CA434B41F}" presName="level3hierChild" presStyleCnt="0"/>
      <dgm:spPr/>
    </dgm:pt>
    <dgm:pt modelId="{1DE7A2CD-401E-D04F-87BD-C74C7BAF969F}" type="pres">
      <dgm:prSet presAssocID="{D5BB5B02-A3CC-6740-B2E1-31D721EF215B}" presName="conn2-1" presStyleLbl="parChTrans1D3" presStyleIdx="3" presStyleCnt="6"/>
      <dgm:spPr/>
      <dgm:t>
        <a:bodyPr/>
        <a:lstStyle/>
        <a:p>
          <a:endParaRPr lang="en-US"/>
        </a:p>
      </dgm:t>
    </dgm:pt>
    <dgm:pt modelId="{59CD83C5-CB7D-9E43-AAEC-411B5EC76D7C}" type="pres">
      <dgm:prSet presAssocID="{D5BB5B02-A3CC-6740-B2E1-31D721EF215B}" presName="connTx" presStyleLbl="parChTrans1D3" presStyleIdx="3" presStyleCnt="6"/>
      <dgm:spPr/>
      <dgm:t>
        <a:bodyPr/>
        <a:lstStyle/>
        <a:p>
          <a:endParaRPr lang="en-US"/>
        </a:p>
      </dgm:t>
    </dgm:pt>
    <dgm:pt modelId="{B26E24ED-BE56-6E4C-A9DF-90CC237E01F1}" type="pres">
      <dgm:prSet presAssocID="{20CB01FB-F1A6-4940-99A7-E4123188EC8C}" presName="root2" presStyleCnt="0"/>
      <dgm:spPr/>
    </dgm:pt>
    <dgm:pt modelId="{4CC0DCD1-0895-864F-B7C7-516C107AE38C}" type="pres">
      <dgm:prSet presAssocID="{20CB01FB-F1A6-4940-99A7-E4123188EC8C}" presName="LevelTwoTextNode" presStyleLbl="node3" presStyleIdx="3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24AA9DE-69BD-B84A-991B-1D9A14CDF285}" type="pres">
      <dgm:prSet presAssocID="{20CB01FB-F1A6-4940-99A7-E4123188EC8C}" presName="level3hierChild" presStyleCnt="0"/>
      <dgm:spPr/>
    </dgm:pt>
    <dgm:pt modelId="{6079395F-718E-2F4B-936A-321108B7071F}" type="pres">
      <dgm:prSet presAssocID="{3C85ED31-4682-8946-877C-AF0800A0B5FF}" presName="conn2-1" presStyleLbl="parChTrans1D4" presStyleIdx="0" presStyleCnt="5"/>
      <dgm:spPr/>
      <dgm:t>
        <a:bodyPr/>
        <a:lstStyle/>
        <a:p>
          <a:endParaRPr lang="en-US"/>
        </a:p>
      </dgm:t>
    </dgm:pt>
    <dgm:pt modelId="{16B390F4-8A87-AA4F-B717-EEBDAB5949A7}" type="pres">
      <dgm:prSet presAssocID="{3C85ED31-4682-8946-877C-AF0800A0B5FF}" presName="connTx" presStyleLbl="parChTrans1D4" presStyleIdx="0" presStyleCnt="5"/>
      <dgm:spPr/>
      <dgm:t>
        <a:bodyPr/>
        <a:lstStyle/>
        <a:p>
          <a:endParaRPr lang="en-US"/>
        </a:p>
      </dgm:t>
    </dgm:pt>
    <dgm:pt modelId="{4DD694E0-D457-DA41-9BEF-1C970B87902F}" type="pres">
      <dgm:prSet presAssocID="{AEEB40FC-4C9A-C84E-99DB-05670B708797}" presName="root2" presStyleCnt="0"/>
      <dgm:spPr/>
    </dgm:pt>
    <dgm:pt modelId="{138841DC-6C6E-D043-B4A6-F475CD289903}" type="pres">
      <dgm:prSet presAssocID="{AEEB40FC-4C9A-C84E-99DB-05670B708797}" presName="LevelTwoTextNode" presStyleLbl="node4" presStyleIdx="0" presStyleCnt="5" custLinFactNeighborY="-5250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46622B-8F15-3A45-831B-43C62DD7EE89}" type="pres">
      <dgm:prSet presAssocID="{AEEB40FC-4C9A-C84E-99DB-05670B708797}" presName="level3hierChild" presStyleCnt="0"/>
      <dgm:spPr/>
    </dgm:pt>
    <dgm:pt modelId="{4B1D1239-F650-AF4B-AB57-20859BDF5E30}" type="pres">
      <dgm:prSet presAssocID="{22E1EC55-90A6-7B47-86F6-FEB6FC83E634}" presName="conn2-1" presStyleLbl="parChTrans1D4" presStyleIdx="1" presStyleCnt="5"/>
      <dgm:spPr/>
      <dgm:t>
        <a:bodyPr/>
        <a:lstStyle/>
        <a:p>
          <a:endParaRPr lang="en-US"/>
        </a:p>
      </dgm:t>
    </dgm:pt>
    <dgm:pt modelId="{E4BEC1DC-4148-9741-A4D8-DA5D49879ACB}" type="pres">
      <dgm:prSet presAssocID="{22E1EC55-90A6-7B47-86F6-FEB6FC83E634}" presName="connTx" presStyleLbl="parChTrans1D4" presStyleIdx="1" presStyleCnt="5"/>
      <dgm:spPr/>
      <dgm:t>
        <a:bodyPr/>
        <a:lstStyle/>
        <a:p>
          <a:endParaRPr lang="en-US"/>
        </a:p>
      </dgm:t>
    </dgm:pt>
    <dgm:pt modelId="{D7B69D34-A051-3F42-A374-2D5981644045}" type="pres">
      <dgm:prSet presAssocID="{3220495B-B3CF-8946-AD63-5BE22407BBDC}" presName="root2" presStyleCnt="0"/>
      <dgm:spPr/>
    </dgm:pt>
    <dgm:pt modelId="{46DC5A21-D8E5-6D4F-940B-D00427A0B98A}" type="pres">
      <dgm:prSet presAssocID="{3220495B-B3CF-8946-AD63-5BE22407BBDC}" presName="LevelTwoTextNode" presStyleLbl="node4" presStyleIdx="1" presStyleCnt="5" custLinFactNeighborY="-5250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439F0D7-001D-854D-94BD-04EFC83B681F}" type="pres">
      <dgm:prSet presAssocID="{3220495B-B3CF-8946-AD63-5BE22407BBDC}" presName="level3hierChild" presStyleCnt="0"/>
      <dgm:spPr/>
    </dgm:pt>
    <dgm:pt modelId="{0FD50884-0188-134D-9452-A635534FCE11}" type="pres">
      <dgm:prSet presAssocID="{AA700291-9086-EF4B-93D8-6886ECFF3E94}" presName="conn2-1" presStyleLbl="parChTrans1D4" presStyleIdx="2" presStyleCnt="5"/>
      <dgm:spPr/>
      <dgm:t>
        <a:bodyPr/>
        <a:lstStyle/>
        <a:p>
          <a:endParaRPr lang="en-US"/>
        </a:p>
      </dgm:t>
    </dgm:pt>
    <dgm:pt modelId="{7200E270-81C0-9A4A-9B6E-5597CB39C8A0}" type="pres">
      <dgm:prSet presAssocID="{AA700291-9086-EF4B-93D8-6886ECFF3E94}" presName="connTx" presStyleLbl="parChTrans1D4" presStyleIdx="2" presStyleCnt="5"/>
      <dgm:spPr/>
      <dgm:t>
        <a:bodyPr/>
        <a:lstStyle/>
        <a:p>
          <a:endParaRPr lang="en-US"/>
        </a:p>
      </dgm:t>
    </dgm:pt>
    <dgm:pt modelId="{E1645631-3A68-ED42-BF38-DF2BEF5335D4}" type="pres">
      <dgm:prSet presAssocID="{C034BB98-D626-BE47-95B6-FB03E6E4C580}" presName="root2" presStyleCnt="0"/>
      <dgm:spPr/>
    </dgm:pt>
    <dgm:pt modelId="{39423318-5B1A-4142-A7C1-48150E957D89}" type="pres">
      <dgm:prSet presAssocID="{C034BB98-D626-BE47-95B6-FB03E6E4C580}" presName="LevelTwoTextNode" presStyleLbl="node4" presStyleIdx="2" presStyleCnt="5" custLinFactNeighborY="-5250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B59E8F7-F651-0540-AD43-9BC2DAC2A21D}" type="pres">
      <dgm:prSet presAssocID="{C034BB98-D626-BE47-95B6-FB03E6E4C580}" presName="level3hierChild" presStyleCnt="0"/>
      <dgm:spPr/>
    </dgm:pt>
    <dgm:pt modelId="{F71DF25D-2630-B24C-8E76-CC015F20B21A}" type="pres">
      <dgm:prSet presAssocID="{30A3185D-DFAA-CE4F-85C4-886866DEB6A7}" presName="conn2-1" presStyleLbl="parChTrans1D4" presStyleIdx="3" presStyleCnt="5"/>
      <dgm:spPr/>
      <dgm:t>
        <a:bodyPr/>
        <a:lstStyle/>
        <a:p>
          <a:endParaRPr lang="en-US"/>
        </a:p>
      </dgm:t>
    </dgm:pt>
    <dgm:pt modelId="{215F2495-4546-1649-9793-62D9F9CEE9E5}" type="pres">
      <dgm:prSet presAssocID="{30A3185D-DFAA-CE4F-85C4-886866DEB6A7}" presName="connTx" presStyleLbl="parChTrans1D4" presStyleIdx="3" presStyleCnt="5"/>
      <dgm:spPr/>
      <dgm:t>
        <a:bodyPr/>
        <a:lstStyle/>
        <a:p>
          <a:endParaRPr lang="en-US"/>
        </a:p>
      </dgm:t>
    </dgm:pt>
    <dgm:pt modelId="{AAFCEB2A-D133-B145-B699-3B5AD7BD705B}" type="pres">
      <dgm:prSet presAssocID="{0DDA0581-EC2E-6D49-8112-665F3CAAE921}" presName="root2" presStyleCnt="0"/>
      <dgm:spPr/>
    </dgm:pt>
    <dgm:pt modelId="{D6E967DF-D3F4-134D-93D7-1F5048A8AFBE}" type="pres">
      <dgm:prSet presAssocID="{0DDA0581-EC2E-6D49-8112-665F3CAAE921}" presName="LevelTwoTextNode" presStyleLbl="node4" presStyleIdx="3" presStyleCnt="5" custLinFactNeighborY="-5250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0854218-4ABD-6442-BFD7-DFA1907DF319}" type="pres">
      <dgm:prSet presAssocID="{0DDA0581-EC2E-6D49-8112-665F3CAAE921}" presName="level3hierChild" presStyleCnt="0"/>
      <dgm:spPr/>
    </dgm:pt>
    <dgm:pt modelId="{358C1CCB-7271-E04D-92F6-2133C94E4D79}" type="pres">
      <dgm:prSet presAssocID="{A3157B26-C830-7640-B60B-B9C8F50CE7BF}" presName="conn2-1" presStyleLbl="parChTrans1D3" presStyleIdx="4" presStyleCnt="6"/>
      <dgm:spPr/>
      <dgm:t>
        <a:bodyPr/>
        <a:lstStyle/>
        <a:p>
          <a:endParaRPr lang="en-US"/>
        </a:p>
      </dgm:t>
    </dgm:pt>
    <dgm:pt modelId="{043C5036-F450-C94F-BEEC-F8D1559CA68A}" type="pres">
      <dgm:prSet presAssocID="{A3157B26-C830-7640-B60B-B9C8F50CE7BF}" presName="connTx" presStyleLbl="parChTrans1D3" presStyleIdx="4" presStyleCnt="6"/>
      <dgm:spPr/>
      <dgm:t>
        <a:bodyPr/>
        <a:lstStyle/>
        <a:p>
          <a:endParaRPr lang="en-US"/>
        </a:p>
      </dgm:t>
    </dgm:pt>
    <dgm:pt modelId="{2CC68BF7-67E2-9B42-AB3C-3F024796B6A8}" type="pres">
      <dgm:prSet presAssocID="{A423C658-A0B3-C143-8A2F-AB890C309B38}" presName="root2" presStyleCnt="0"/>
      <dgm:spPr/>
    </dgm:pt>
    <dgm:pt modelId="{60C93B86-6E8C-3A47-B0D8-1F8139C6C6E4}" type="pres">
      <dgm:prSet presAssocID="{A423C658-A0B3-C143-8A2F-AB890C309B38}" presName="LevelTwoTextNode" presStyleLbl="node3" presStyleIdx="4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2F48360-B91B-A540-B164-51F74EBDD709}" type="pres">
      <dgm:prSet presAssocID="{A423C658-A0B3-C143-8A2F-AB890C309B38}" presName="level3hierChild" presStyleCnt="0"/>
      <dgm:spPr/>
    </dgm:pt>
    <dgm:pt modelId="{70C73A82-4BA5-8D45-8448-C6F003FDA26D}" type="pres">
      <dgm:prSet presAssocID="{8ABBF8F8-5E64-C041-8EF4-F551623AB1A1}" presName="conn2-1" presStyleLbl="parChTrans1D3" presStyleIdx="5" presStyleCnt="6"/>
      <dgm:spPr/>
      <dgm:t>
        <a:bodyPr/>
        <a:lstStyle/>
        <a:p>
          <a:endParaRPr lang="en-US"/>
        </a:p>
      </dgm:t>
    </dgm:pt>
    <dgm:pt modelId="{54252ED8-3E0A-7D4E-8A70-ADBEC624F544}" type="pres">
      <dgm:prSet presAssocID="{8ABBF8F8-5E64-C041-8EF4-F551623AB1A1}" presName="connTx" presStyleLbl="parChTrans1D3" presStyleIdx="5" presStyleCnt="6"/>
      <dgm:spPr/>
      <dgm:t>
        <a:bodyPr/>
        <a:lstStyle/>
        <a:p>
          <a:endParaRPr lang="en-US"/>
        </a:p>
      </dgm:t>
    </dgm:pt>
    <dgm:pt modelId="{33AF5B34-7F73-B747-9C8C-152729900B43}" type="pres">
      <dgm:prSet presAssocID="{A9EA6E8B-B048-4B41-B782-0C70C357922C}" presName="root2" presStyleCnt="0"/>
      <dgm:spPr/>
    </dgm:pt>
    <dgm:pt modelId="{145A4B6E-AD6D-9C4C-AF55-2C98B934D3AB}" type="pres">
      <dgm:prSet presAssocID="{A9EA6E8B-B048-4B41-B782-0C70C357922C}" presName="LevelTwoTextNode" presStyleLbl="node3" presStyleIdx="5" presStyleCnt="6" custLinFactNeighborX="-460" custLinFactNeighborY="1219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F26A9F0-7F79-CA44-A634-CA6E225F944C}" type="pres">
      <dgm:prSet presAssocID="{A9EA6E8B-B048-4B41-B782-0C70C357922C}" presName="level3hierChild" presStyleCnt="0"/>
      <dgm:spPr/>
    </dgm:pt>
    <dgm:pt modelId="{1D942E5C-4E6A-ED4F-883D-355FB50CF4EA}" type="pres">
      <dgm:prSet presAssocID="{CA1A41BF-80BB-EB47-A54B-8AF0A4CD8531}" presName="conn2-1" presStyleLbl="parChTrans1D4" presStyleIdx="4" presStyleCnt="5"/>
      <dgm:spPr/>
      <dgm:t>
        <a:bodyPr/>
        <a:lstStyle/>
        <a:p>
          <a:endParaRPr lang="en-US"/>
        </a:p>
      </dgm:t>
    </dgm:pt>
    <dgm:pt modelId="{618547B1-F0DB-324B-B835-75F373A72990}" type="pres">
      <dgm:prSet presAssocID="{CA1A41BF-80BB-EB47-A54B-8AF0A4CD8531}" presName="connTx" presStyleLbl="parChTrans1D4" presStyleIdx="4" presStyleCnt="5"/>
      <dgm:spPr/>
      <dgm:t>
        <a:bodyPr/>
        <a:lstStyle/>
        <a:p>
          <a:endParaRPr lang="en-US"/>
        </a:p>
      </dgm:t>
    </dgm:pt>
    <dgm:pt modelId="{AC38AEA7-DBC8-D447-AB63-2CCBEAA8FE90}" type="pres">
      <dgm:prSet presAssocID="{BEB300DB-6C28-5644-B1CB-C54F580D49B0}" presName="root2" presStyleCnt="0"/>
      <dgm:spPr/>
    </dgm:pt>
    <dgm:pt modelId="{B75429D9-1FF5-6A45-B121-74D748B8BFFD}" type="pres">
      <dgm:prSet presAssocID="{BEB300DB-6C28-5644-B1CB-C54F580D49B0}" presName="LevelTwoTextNode" presStyleLbl="node4" presStyleIdx="4" presStyleCnt="5" custLinFactNeighborY="2177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44E67A1-8FA8-D04A-B4CC-9E97AD6C68CC}" type="pres">
      <dgm:prSet presAssocID="{BEB300DB-6C28-5644-B1CB-C54F580D49B0}" presName="level3hierChild" presStyleCnt="0"/>
      <dgm:spPr/>
    </dgm:pt>
  </dgm:ptLst>
  <dgm:cxnLst>
    <dgm:cxn modelId="{A052F6CE-5F58-184C-A256-D541436B4D1E}" type="presOf" srcId="{6449BCB2-5A5D-EA4D-A895-E4CF618EBD7A}" destId="{A786F87B-AFDF-EE49-8057-16F3F6CE3994}" srcOrd="0" destOrd="0" presId="urn:microsoft.com/office/officeart/2005/8/layout/hierarchy2"/>
    <dgm:cxn modelId="{70F599F6-30B4-3F47-AA21-601179ED2D61}" type="presOf" srcId="{AD93C16F-A656-8540-8950-9A84FB7592A4}" destId="{2CC5F069-FE26-274E-939A-2408CA3CAA46}" srcOrd="0" destOrd="0" presId="urn:microsoft.com/office/officeart/2005/8/layout/hierarchy2"/>
    <dgm:cxn modelId="{5FB8D82D-B926-AA46-ADCE-81C928CDFF3D}" type="presOf" srcId="{30A3185D-DFAA-CE4F-85C4-886866DEB6A7}" destId="{F71DF25D-2630-B24C-8E76-CC015F20B21A}" srcOrd="0" destOrd="0" presId="urn:microsoft.com/office/officeart/2005/8/layout/hierarchy2"/>
    <dgm:cxn modelId="{261104B8-6B59-1440-AF16-3A0FCEB3FEDD}" type="presOf" srcId="{472A0FC9-8EE2-EC43-B225-0C6139AA8963}" destId="{1F855AFB-A712-9B41-871C-4C1E0FC57701}" srcOrd="1" destOrd="0" presId="urn:microsoft.com/office/officeart/2005/8/layout/hierarchy2"/>
    <dgm:cxn modelId="{2CAE85A6-40FA-CE46-A30F-DB0386A0DA3A}" type="presOf" srcId="{2F94670A-7ADA-EB4E-9227-9B3F08161E69}" destId="{78ACF44E-DE7A-DC43-9D83-12BC3666F53A}" srcOrd="0" destOrd="0" presId="urn:microsoft.com/office/officeart/2005/8/layout/hierarchy2"/>
    <dgm:cxn modelId="{C68E4B69-01B5-1045-A93D-6B159EE3EE6F}" type="presOf" srcId="{C034BB98-D626-BE47-95B6-FB03E6E4C580}" destId="{39423318-5B1A-4142-A7C1-48150E957D89}" srcOrd="0" destOrd="0" presId="urn:microsoft.com/office/officeart/2005/8/layout/hierarchy2"/>
    <dgm:cxn modelId="{08B6D710-52BA-4842-9148-AA2962FFA873}" srcId="{20CB01FB-F1A6-4940-99A7-E4123188EC8C}" destId="{AEEB40FC-4C9A-C84E-99DB-05670B708797}" srcOrd="0" destOrd="0" parTransId="{3C85ED31-4682-8946-877C-AF0800A0B5FF}" sibTransId="{2012D47A-A5FC-C945-91C9-9A9299435DE3}"/>
    <dgm:cxn modelId="{A8CD6684-C587-784D-988E-2338380AA5C3}" type="presOf" srcId="{ED686430-79D6-114E-BE14-F6019247F306}" destId="{E8ECA722-F300-F74A-99EE-331F00A0DB12}" srcOrd="0" destOrd="0" presId="urn:microsoft.com/office/officeart/2005/8/layout/hierarchy2"/>
    <dgm:cxn modelId="{02E8B546-A7FE-8743-8607-D1EA235D22F4}" srcId="{AD93C16F-A656-8540-8950-9A84FB7592A4}" destId="{A423C658-A0B3-C143-8A2F-AB890C309B38}" srcOrd="2" destOrd="0" parTransId="{A3157B26-C830-7640-B60B-B9C8F50CE7BF}" sibTransId="{5A285249-DF3A-A34B-A71B-98E36673F8B5}"/>
    <dgm:cxn modelId="{C53D7215-DF96-2542-8D66-4D5AB5466056}" srcId="{20CB01FB-F1A6-4940-99A7-E4123188EC8C}" destId="{0DDA0581-EC2E-6D49-8112-665F3CAAE921}" srcOrd="3" destOrd="0" parTransId="{30A3185D-DFAA-CE4F-85C4-886866DEB6A7}" sibTransId="{C279CCC0-8E2C-D844-8BDE-4447E2302F7C}"/>
    <dgm:cxn modelId="{845BB8E1-D218-9F4B-9109-FE48BD3738A8}" type="presOf" srcId="{3220495B-B3CF-8946-AD63-5BE22407BBDC}" destId="{46DC5A21-D8E5-6D4F-940B-D00427A0B98A}" srcOrd="0" destOrd="0" presId="urn:microsoft.com/office/officeart/2005/8/layout/hierarchy2"/>
    <dgm:cxn modelId="{51B4DD4E-D188-BB48-AF99-C8160A5F87DA}" type="presOf" srcId="{A6715175-161B-BE47-9F0D-86313D0A5860}" destId="{1EDCABFC-12D5-954E-8ECE-685F981B3D5D}" srcOrd="0" destOrd="0" presId="urn:microsoft.com/office/officeart/2005/8/layout/hierarchy2"/>
    <dgm:cxn modelId="{DF4304D8-2CF7-6E49-A074-13982794AF9E}" type="presOf" srcId="{AEEB40FC-4C9A-C84E-99DB-05670B708797}" destId="{138841DC-6C6E-D043-B4A6-F475CD289903}" srcOrd="0" destOrd="0" presId="urn:microsoft.com/office/officeart/2005/8/layout/hierarchy2"/>
    <dgm:cxn modelId="{8B88DDDB-5EA8-434F-A4AD-D84BBB3390D7}" srcId="{C5F680E4-A8D0-F84A-9799-C2D361E7E7D2}" destId="{ACC0AB9C-D2B9-7D4C-8D55-A355B702A772}" srcOrd="0" destOrd="0" parTransId="{7AFCC8E4-3C21-094B-BB83-730A74E3AACC}" sibTransId="{8D3C9D0C-96DD-4D45-A58A-4F35DA327AF8}"/>
    <dgm:cxn modelId="{3D6E42A9-2D10-234B-A0CD-C087D852FA24}" type="presOf" srcId="{0348B792-B687-0444-8635-5D9CA434B41F}" destId="{26812E7E-0E6B-E347-9169-DE9F98D0DB3E}" srcOrd="0" destOrd="0" presId="urn:microsoft.com/office/officeart/2005/8/layout/hierarchy2"/>
    <dgm:cxn modelId="{2A106673-08CB-3C41-B84A-0CF66F755B85}" srcId="{ACC0AB9C-D2B9-7D4C-8D55-A355B702A772}" destId="{A6715175-161B-BE47-9F0D-86313D0A5860}" srcOrd="0" destOrd="0" parTransId="{ED686430-79D6-114E-BE14-F6019247F306}" sibTransId="{C7E624C6-7F96-AE40-A06C-A30D24189C5A}"/>
    <dgm:cxn modelId="{571211C0-3F2F-EE43-99F0-CA61BD57B65D}" type="presOf" srcId="{D5BB5B02-A3CC-6740-B2E1-31D721EF215B}" destId="{59CD83C5-CB7D-9E43-AAEC-411B5EC76D7C}" srcOrd="1" destOrd="0" presId="urn:microsoft.com/office/officeart/2005/8/layout/hierarchy2"/>
    <dgm:cxn modelId="{F16709E9-6B47-574D-BBD0-83EC5693B4E4}" srcId="{A6715175-161B-BE47-9F0D-86313D0A5860}" destId="{6449BCB2-5A5D-EA4D-A895-E4CF618EBD7A}" srcOrd="0" destOrd="0" parTransId="{B81F1E8F-2316-C347-9637-57E0453770D3}" sibTransId="{BBA2861D-2791-7B42-A0C4-CF8DD02F3005}"/>
    <dgm:cxn modelId="{E6F96918-B16B-244F-9FC4-DB79A761CF23}" type="presOf" srcId="{30A3185D-DFAA-CE4F-85C4-886866DEB6A7}" destId="{215F2495-4546-1649-9793-62D9F9CEE9E5}" srcOrd="1" destOrd="0" presId="urn:microsoft.com/office/officeart/2005/8/layout/hierarchy2"/>
    <dgm:cxn modelId="{28CD3C31-419A-034B-88B2-9A036495F4C5}" type="presOf" srcId="{2F94670A-7ADA-EB4E-9227-9B3F08161E69}" destId="{415A4B68-5E85-4E42-AF5D-3A287D30E48E}" srcOrd="1" destOrd="0" presId="urn:microsoft.com/office/officeart/2005/8/layout/hierarchy2"/>
    <dgm:cxn modelId="{22C49C9C-6FA4-6344-8C81-1351A7240930}" type="presOf" srcId="{AA700291-9086-EF4B-93D8-6886ECFF3E94}" destId="{0FD50884-0188-134D-9452-A635534FCE11}" srcOrd="0" destOrd="0" presId="urn:microsoft.com/office/officeart/2005/8/layout/hierarchy2"/>
    <dgm:cxn modelId="{867A3C6B-573B-3C47-8090-9C1143A90FEB}" srcId="{AD93C16F-A656-8540-8950-9A84FB7592A4}" destId="{A9EA6E8B-B048-4B41-B782-0C70C357922C}" srcOrd="3" destOrd="0" parTransId="{8ABBF8F8-5E64-C041-8EF4-F551623AB1A1}" sibTransId="{4435F7D1-DF9D-C24E-A833-05800DF0F7F6}"/>
    <dgm:cxn modelId="{163E77BC-2F04-DF4C-8BB3-05806BA11270}" type="presOf" srcId="{CA1A41BF-80BB-EB47-A54B-8AF0A4CD8531}" destId="{618547B1-F0DB-324B-B835-75F373A72990}" srcOrd="1" destOrd="0" presId="urn:microsoft.com/office/officeart/2005/8/layout/hierarchy2"/>
    <dgm:cxn modelId="{CBBF2ACF-9720-0648-94B9-B08339F9411F}" type="presOf" srcId="{C5F680E4-A8D0-F84A-9799-C2D361E7E7D2}" destId="{7944AF19-56AF-1E4A-A848-3C03CE457CCB}" srcOrd="0" destOrd="0" presId="urn:microsoft.com/office/officeart/2005/8/layout/hierarchy2"/>
    <dgm:cxn modelId="{E103059E-E48B-2C42-816D-D119E14E4580}" srcId="{AD93C16F-A656-8540-8950-9A84FB7592A4}" destId="{0348B792-B687-0444-8635-5D9CA434B41F}" srcOrd="0" destOrd="0" parTransId="{472A0FC9-8EE2-EC43-B225-0C6139AA8963}" sibTransId="{590A7E5C-5F0C-DA4D-BE24-2216A7BE0583}"/>
    <dgm:cxn modelId="{70089CAB-EB53-884C-AADB-3AD1D56A833A}" type="presOf" srcId="{20CB01FB-F1A6-4940-99A7-E4123188EC8C}" destId="{4CC0DCD1-0895-864F-B7C7-516C107AE38C}" srcOrd="0" destOrd="0" presId="urn:microsoft.com/office/officeart/2005/8/layout/hierarchy2"/>
    <dgm:cxn modelId="{18643CA0-A832-7A4C-BDAC-4D9B8E311B0C}" type="presOf" srcId="{8ABBF8F8-5E64-C041-8EF4-F551623AB1A1}" destId="{70C73A82-4BA5-8D45-8448-C6F003FDA26D}" srcOrd="0" destOrd="0" presId="urn:microsoft.com/office/officeart/2005/8/layout/hierarchy2"/>
    <dgm:cxn modelId="{BAC704D4-F4A5-8A4A-98DE-2215C4667091}" type="presOf" srcId="{09C548B3-1445-BD4A-9D57-FF32B8115C3E}" destId="{EF6F5AE3-E4D6-104A-8DD1-7E8B6ACCEC6F}" srcOrd="1" destOrd="0" presId="urn:microsoft.com/office/officeart/2005/8/layout/hierarchy2"/>
    <dgm:cxn modelId="{B1290370-9383-4243-8FE8-120F549AE754}" type="presOf" srcId="{A3157B26-C830-7640-B60B-B9C8F50CE7BF}" destId="{358C1CCB-7271-E04D-92F6-2133C94E4D79}" srcOrd="0" destOrd="0" presId="urn:microsoft.com/office/officeart/2005/8/layout/hierarchy2"/>
    <dgm:cxn modelId="{8AFF8865-C8F5-614A-BA8A-A4468668DE45}" type="presOf" srcId="{ACC0AB9C-D2B9-7D4C-8D55-A355B702A772}" destId="{37142F21-9BD1-9946-AFB8-62FFCF2C26FF}" srcOrd="0" destOrd="0" presId="urn:microsoft.com/office/officeart/2005/8/layout/hierarchy2"/>
    <dgm:cxn modelId="{DCD20C46-3B03-404C-AF6A-3B9A0EAB2E9A}" type="presOf" srcId="{CA1A41BF-80BB-EB47-A54B-8AF0A4CD8531}" destId="{1D942E5C-4E6A-ED4F-883D-355FB50CF4EA}" srcOrd="0" destOrd="0" presId="urn:microsoft.com/office/officeart/2005/8/layout/hierarchy2"/>
    <dgm:cxn modelId="{00316ED8-7E61-9642-B515-DC7E3FDF7B35}" type="presOf" srcId="{3C85ED31-4682-8946-877C-AF0800A0B5FF}" destId="{16B390F4-8A87-AA4F-B717-EEBDAB5949A7}" srcOrd="1" destOrd="0" presId="urn:microsoft.com/office/officeart/2005/8/layout/hierarchy2"/>
    <dgm:cxn modelId="{E5CA69D4-DCC1-DA42-90B0-F406B08923C7}" type="presOf" srcId="{A3157B26-C830-7640-B60B-B9C8F50CE7BF}" destId="{043C5036-F450-C94F-BEEC-F8D1559CA68A}" srcOrd="1" destOrd="0" presId="urn:microsoft.com/office/officeart/2005/8/layout/hierarchy2"/>
    <dgm:cxn modelId="{92F3C36D-4506-C946-A751-398F129617D4}" srcId="{20CB01FB-F1A6-4940-99A7-E4123188EC8C}" destId="{3220495B-B3CF-8946-AD63-5BE22407BBDC}" srcOrd="1" destOrd="0" parTransId="{22E1EC55-90A6-7B47-86F6-FEB6FC83E634}" sibTransId="{E9695265-76FE-024A-8F3C-C706AF8E8097}"/>
    <dgm:cxn modelId="{5D90A010-A7DF-C148-9D6C-C47DA39CAE22}" type="presOf" srcId="{A423C658-A0B3-C143-8A2F-AB890C309B38}" destId="{60C93B86-6E8C-3A47-B0D8-1F8139C6C6E4}" srcOrd="0" destOrd="0" presId="urn:microsoft.com/office/officeart/2005/8/layout/hierarchy2"/>
    <dgm:cxn modelId="{0209006D-5232-E149-9AB6-0DEC76FD425C}" type="presOf" srcId="{D5BB5B02-A3CC-6740-B2E1-31D721EF215B}" destId="{1DE7A2CD-401E-D04F-87BD-C74C7BAF969F}" srcOrd="0" destOrd="0" presId="urn:microsoft.com/office/officeart/2005/8/layout/hierarchy2"/>
    <dgm:cxn modelId="{85F4F219-DCD5-4446-9A03-149BFD0189EB}" srcId="{A9EA6E8B-B048-4B41-B782-0C70C357922C}" destId="{BEB300DB-6C28-5644-B1CB-C54F580D49B0}" srcOrd="0" destOrd="0" parTransId="{CA1A41BF-80BB-EB47-A54B-8AF0A4CD8531}" sibTransId="{308B35D4-A227-214C-A4BB-3429269B386F}"/>
    <dgm:cxn modelId="{4EA542A4-8115-0B43-82CF-53144D70B435}" type="presOf" srcId="{0DDA0581-EC2E-6D49-8112-665F3CAAE921}" destId="{D6E967DF-D3F4-134D-93D7-1F5048A8AFBE}" srcOrd="0" destOrd="0" presId="urn:microsoft.com/office/officeart/2005/8/layout/hierarchy2"/>
    <dgm:cxn modelId="{A3CE505D-7301-AA45-A199-D46E7E41776C}" srcId="{20CB01FB-F1A6-4940-99A7-E4123188EC8C}" destId="{C034BB98-D626-BE47-95B6-FB03E6E4C580}" srcOrd="2" destOrd="0" parTransId="{AA700291-9086-EF4B-93D8-6886ECFF3E94}" sibTransId="{7B923C6D-62A7-9140-AF9C-A3C664D87AAF}"/>
    <dgm:cxn modelId="{34564817-90D2-C645-A1C3-9B9E4A721502}" srcId="{AD93C16F-A656-8540-8950-9A84FB7592A4}" destId="{20CB01FB-F1A6-4940-99A7-E4123188EC8C}" srcOrd="1" destOrd="0" parTransId="{D5BB5B02-A3CC-6740-B2E1-31D721EF215B}" sibTransId="{3B68D129-A7D5-DE43-818B-212CBAA24F3A}"/>
    <dgm:cxn modelId="{04BE4F69-2D03-0544-80B4-BFC2ABA87DC9}" srcId="{ACC0AB9C-D2B9-7D4C-8D55-A355B702A772}" destId="{AD93C16F-A656-8540-8950-9A84FB7592A4}" srcOrd="1" destOrd="0" parTransId="{09C548B3-1445-BD4A-9D57-FF32B8115C3E}" sibTransId="{7C90DF1E-C411-AA49-BA1E-383905574CC2}"/>
    <dgm:cxn modelId="{ADD01E4C-7DA7-7347-B9DC-443415EF6CAC}" type="presOf" srcId="{09C548B3-1445-BD4A-9D57-FF32B8115C3E}" destId="{535CB6CD-6A72-914C-870C-6A68994EAA97}" srcOrd="0" destOrd="0" presId="urn:microsoft.com/office/officeart/2005/8/layout/hierarchy2"/>
    <dgm:cxn modelId="{2B0098BE-78E3-B54D-8B6F-8D88B42F1D79}" type="presOf" srcId="{A9EA6E8B-B048-4B41-B782-0C70C357922C}" destId="{145A4B6E-AD6D-9C4C-AF55-2C98B934D3AB}" srcOrd="0" destOrd="0" presId="urn:microsoft.com/office/officeart/2005/8/layout/hierarchy2"/>
    <dgm:cxn modelId="{E6E9922B-55B8-3E44-ADCE-BACB0664BB9B}" type="presOf" srcId="{BEB300DB-6C28-5644-B1CB-C54F580D49B0}" destId="{B75429D9-1FF5-6A45-B121-74D748B8BFFD}" srcOrd="0" destOrd="0" presId="urn:microsoft.com/office/officeart/2005/8/layout/hierarchy2"/>
    <dgm:cxn modelId="{9C433896-F99C-C54A-9F15-9BABD23077D6}" type="presOf" srcId="{22E1EC55-90A6-7B47-86F6-FEB6FC83E634}" destId="{4B1D1239-F650-AF4B-AB57-20859BDF5E30}" srcOrd="0" destOrd="0" presId="urn:microsoft.com/office/officeart/2005/8/layout/hierarchy2"/>
    <dgm:cxn modelId="{942C2E3B-F677-A24C-8D4B-5D0F2CBCF59F}" type="presOf" srcId="{472A0FC9-8EE2-EC43-B225-0C6139AA8963}" destId="{9E1CCE80-8EEB-9B41-83D9-BCD6307D1277}" srcOrd="0" destOrd="0" presId="urn:microsoft.com/office/officeart/2005/8/layout/hierarchy2"/>
    <dgm:cxn modelId="{E68DAEA4-2FA7-E74D-9721-525115A222B1}" type="presOf" srcId="{22E1EC55-90A6-7B47-86F6-FEB6FC83E634}" destId="{E4BEC1DC-4148-9741-A4D8-DA5D49879ACB}" srcOrd="1" destOrd="0" presId="urn:microsoft.com/office/officeart/2005/8/layout/hierarchy2"/>
    <dgm:cxn modelId="{B76C2A6B-CAC4-FB46-9809-C9CC033334AC}" type="presOf" srcId="{8ABBF8F8-5E64-C041-8EF4-F551623AB1A1}" destId="{54252ED8-3E0A-7D4E-8A70-ADBEC624F544}" srcOrd="1" destOrd="0" presId="urn:microsoft.com/office/officeart/2005/8/layout/hierarchy2"/>
    <dgm:cxn modelId="{404C1C40-BEC7-8F49-ADFD-D8096DAD7298}" type="presOf" srcId="{B81F1E8F-2316-C347-9637-57E0453770D3}" destId="{C089A815-8D95-3544-9F6A-EB1A60BA0179}" srcOrd="1" destOrd="0" presId="urn:microsoft.com/office/officeart/2005/8/layout/hierarchy2"/>
    <dgm:cxn modelId="{0FD150FF-C237-B94C-92E3-680CDB106A77}" type="presOf" srcId="{3C85ED31-4682-8946-877C-AF0800A0B5FF}" destId="{6079395F-718E-2F4B-936A-321108B7071F}" srcOrd="0" destOrd="0" presId="urn:microsoft.com/office/officeart/2005/8/layout/hierarchy2"/>
    <dgm:cxn modelId="{253BB453-26B7-BE4D-854E-04B468FFE25E}" type="presOf" srcId="{B81F1E8F-2316-C347-9637-57E0453770D3}" destId="{E9F0BD4E-8005-5E45-8C35-639AE4939F64}" srcOrd="0" destOrd="0" presId="urn:microsoft.com/office/officeart/2005/8/layout/hierarchy2"/>
    <dgm:cxn modelId="{F88FD471-CA8E-AA47-B38E-64F0BE666B30}" type="presOf" srcId="{AA700291-9086-EF4B-93D8-6886ECFF3E94}" destId="{7200E270-81C0-9A4A-9B6E-5597CB39C8A0}" srcOrd="1" destOrd="0" presId="urn:microsoft.com/office/officeart/2005/8/layout/hierarchy2"/>
    <dgm:cxn modelId="{C295A8D0-F0E6-774E-B41B-7F9A93985406}" srcId="{A6715175-161B-BE47-9F0D-86313D0A5860}" destId="{205260D3-E2F4-C449-9B13-34ECFD3F2F74}" srcOrd="1" destOrd="0" parTransId="{2F94670A-7ADA-EB4E-9227-9B3F08161E69}" sibTransId="{6C7D7D70-19AB-5B4E-88B2-427B98DDF8BF}"/>
    <dgm:cxn modelId="{32FC5F9F-FB2D-2644-90AF-F116ACA0AC29}" type="presOf" srcId="{205260D3-E2F4-C449-9B13-34ECFD3F2F74}" destId="{6A6FE0C5-E01E-9C48-BAB4-744A6899D9AA}" srcOrd="0" destOrd="0" presId="urn:microsoft.com/office/officeart/2005/8/layout/hierarchy2"/>
    <dgm:cxn modelId="{1BC34035-0FEE-6243-BF70-34BA3ED76555}" type="presOf" srcId="{ED686430-79D6-114E-BE14-F6019247F306}" destId="{6C235E3E-A6DB-D843-BCA0-E05C93E0ED5B}" srcOrd="1" destOrd="0" presId="urn:microsoft.com/office/officeart/2005/8/layout/hierarchy2"/>
    <dgm:cxn modelId="{B2B7F260-506C-5F45-BCD9-B000512A7774}" type="presParOf" srcId="{7944AF19-56AF-1E4A-A848-3C03CE457CCB}" destId="{4EC982F0-B4DA-A14C-8797-0DD036966F25}" srcOrd="0" destOrd="0" presId="urn:microsoft.com/office/officeart/2005/8/layout/hierarchy2"/>
    <dgm:cxn modelId="{D0D98F08-1BD1-0341-A663-E33E95EB29FA}" type="presParOf" srcId="{4EC982F0-B4DA-A14C-8797-0DD036966F25}" destId="{37142F21-9BD1-9946-AFB8-62FFCF2C26FF}" srcOrd="0" destOrd="0" presId="urn:microsoft.com/office/officeart/2005/8/layout/hierarchy2"/>
    <dgm:cxn modelId="{2FC8CCF6-B7B5-CC41-BC99-E6F726B866EA}" type="presParOf" srcId="{4EC982F0-B4DA-A14C-8797-0DD036966F25}" destId="{0EB35EAD-C2F0-E34E-ACC8-7B6EC2465599}" srcOrd="1" destOrd="0" presId="urn:microsoft.com/office/officeart/2005/8/layout/hierarchy2"/>
    <dgm:cxn modelId="{7D128325-4A4E-F341-A4BF-09B1E0CB6D32}" type="presParOf" srcId="{0EB35EAD-C2F0-E34E-ACC8-7B6EC2465599}" destId="{E8ECA722-F300-F74A-99EE-331F00A0DB12}" srcOrd="0" destOrd="0" presId="urn:microsoft.com/office/officeart/2005/8/layout/hierarchy2"/>
    <dgm:cxn modelId="{03C144DD-B022-CA4B-8836-6E3D6CBAE29B}" type="presParOf" srcId="{E8ECA722-F300-F74A-99EE-331F00A0DB12}" destId="{6C235E3E-A6DB-D843-BCA0-E05C93E0ED5B}" srcOrd="0" destOrd="0" presId="urn:microsoft.com/office/officeart/2005/8/layout/hierarchy2"/>
    <dgm:cxn modelId="{2BC7F8EF-54DE-8A40-9ACE-5D233D2C295E}" type="presParOf" srcId="{0EB35EAD-C2F0-E34E-ACC8-7B6EC2465599}" destId="{FD07E1C8-D024-7D41-9DD5-0A0DCD03E5F6}" srcOrd="1" destOrd="0" presId="urn:microsoft.com/office/officeart/2005/8/layout/hierarchy2"/>
    <dgm:cxn modelId="{298CC502-24CC-C848-9798-816602CD2D77}" type="presParOf" srcId="{FD07E1C8-D024-7D41-9DD5-0A0DCD03E5F6}" destId="{1EDCABFC-12D5-954E-8ECE-685F981B3D5D}" srcOrd="0" destOrd="0" presId="urn:microsoft.com/office/officeart/2005/8/layout/hierarchy2"/>
    <dgm:cxn modelId="{880D0389-9A5B-B047-B952-97B36DD921C5}" type="presParOf" srcId="{FD07E1C8-D024-7D41-9DD5-0A0DCD03E5F6}" destId="{0A155A25-2A0D-F146-85D4-7BB6BBE147A0}" srcOrd="1" destOrd="0" presId="urn:microsoft.com/office/officeart/2005/8/layout/hierarchy2"/>
    <dgm:cxn modelId="{CC89C55E-A64C-B544-8CA3-FD760A3EE7A3}" type="presParOf" srcId="{0A155A25-2A0D-F146-85D4-7BB6BBE147A0}" destId="{E9F0BD4E-8005-5E45-8C35-639AE4939F64}" srcOrd="0" destOrd="0" presId="urn:microsoft.com/office/officeart/2005/8/layout/hierarchy2"/>
    <dgm:cxn modelId="{C5009F0A-2C33-DA48-BCEF-78964A830BFF}" type="presParOf" srcId="{E9F0BD4E-8005-5E45-8C35-639AE4939F64}" destId="{C089A815-8D95-3544-9F6A-EB1A60BA0179}" srcOrd="0" destOrd="0" presId="urn:microsoft.com/office/officeart/2005/8/layout/hierarchy2"/>
    <dgm:cxn modelId="{270A1046-BFD3-E044-ADCF-7BECE48BCE1B}" type="presParOf" srcId="{0A155A25-2A0D-F146-85D4-7BB6BBE147A0}" destId="{AE2D94CA-9EEE-C843-B36B-39572162F2BB}" srcOrd="1" destOrd="0" presId="urn:microsoft.com/office/officeart/2005/8/layout/hierarchy2"/>
    <dgm:cxn modelId="{1EB83085-51C1-E046-90EB-327DEF5C7027}" type="presParOf" srcId="{AE2D94CA-9EEE-C843-B36B-39572162F2BB}" destId="{A786F87B-AFDF-EE49-8057-16F3F6CE3994}" srcOrd="0" destOrd="0" presId="urn:microsoft.com/office/officeart/2005/8/layout/hierarchy2"/>
    <dgm:cxn modelId="{9180716D-D716-E849-9E06-DC3402E052C5}" type="presParOf" srcId="{AE2D94CA-9EEE-C843-B36B-39572162F2BB}" destId="{E45795CF-5663-6249-8DC0-919F618786BB}" srcOrd="1" destOrd="0" presId="urn:microsoft.com/office/officeart/2005/8/layout/hierarchy2"/>
    <dgm:cxn modelId="{1F79C071-76F7-684E-9968-71AAE6B15BBA}" type="presParOf" srcId="{0A155A25-2A0D-F146-85D4-7BB6BBE147A0}" destId="{78ACF44E-DE7A-DC43-9D83-12BC3666F53A}" srcOrd="2" destOrd="0" presId="urn:microsoft.com/office/officeart/2005/8/layout/hierarchy2"/>
    <dgm:cxn modelId="{F65A7FE6-C4AD-E644-A851-33EFA662BF06}" type="presParOf" srcId="{78ACF44E-DE7A-DC43-9D83-12BC3666F53A}" destId="{415A4B68-5E85-4E42-AF5D-3A287D30E48E}" srcOrd="0" destOrd="0" presId="urn:microsoft.com/office/officeart/2005/8/layout/hierarchy2"/>
    <dgm:cxn modelId="{9285EDD8-D539-EA49-AA77-C175D1AB2CA7}" type="presParOf" srcId="{0A155A25-2A0D-F146-85D4-7BB6BBE147A0}" destId="{38A17EA3-46A5-A249-8EC3-1B48DAC36794}" srcOrd="3" destOrd="0" presId="urn:microsoft.com/office/officeart/2005/8/layout/hierarchy2"/>
    <dgm:cxn modelId="{7F2E0EAE-916C-D443-8955-FB6243F08020}" type="presParOf" srcId="{38A17EA3-46A5-A249-8EC3-1B48DAC36794}" destId="{6A6FE0C5-E01E-9C48-BAB4-744A6899D9AA}" srcOrd="0" destOrd="0" presId="urn:microsoft.com/office/officeart/2005/8/layout/hierarchy2"/>
    <dgm:cxn modelId="{DCAAF993-EEB2-BC47-BB4A-1F5D573C9E24}" type="presParOf" srcId="{38A17EA3-46A5-A249-8EC3-1B48DAC36794}" destId="{1F43AB9E-A5EF-504A-9E32-A9BC6FED902A}" srcOrd="1" destOrd="0" presId="urn:microsoft.com/office/officeart/2005/8/layout/hierarchy2"/>
    <dgm:cxn modelId="{FD3CC6FF-9E63-B548-A6B7-9B786C24D99C}" type="presParOf" srcId="{0EB35EAD-C2F0-E34E-ACC8-7B6EC2465599}" destId="{535CB6CD-6A72-914C-870C-6A68994EAA97}" srcOrd="2" destOrd="0" presId="urn:microsoft.com/office/officeart/2005/8/layout/hierarchy2"/>
    <dgm:cxn modelId="{2B7C0419-D8EC-CC43-886A-7656310737C6}" type="presParOf" srcId="{535CB6CD-6A72-914C-870C-6A68994EAA97}" destId="{EF6F5AE3-E4D6-104A-8DD1-7E8B6ACCEC6F}" srcOrd="0" destOrd="0" presId="urn:microsoft.com/office/officeart/2005/8/layout/hierarchy2"/>
    <dgm:cxn modelId="{F7A74E04-7AB8-6847-B746-0B8013833638}" type="presParOf" srcId="{0EB35EAD-C2F0-E34E-ACC8-7B6EC2465599}" destId="{9C37A1F9-6FDA-224E-8648-EA44E07CA840}" srcOrd="3" destOrd="0" presId="urn:microsoft.com/office/officeart/2005/8/layout/hierarchy2"/>
    <dgm:cxn modelId="{6AA4BE52-F8E2-CE41-B132-8EA91876C325}" type="presParOf" srcId="{9C37A1F9-6FDA-224E-8648-EA44E07CA840}" destId="{2CC5F069-FE26-274E-939A-2408CA3CAA46}" srcOrd="0" destOrd="0" presId="urn:microsoft.com/office/officeart/2005/8/layout/hierarchy2"/>
    <dgm:cxn modelId="{02399B3D-72F2-D54E-B549-CA178FD2A0E5}" type="presParOf" srcId="{9C37A1F9-6FDA-224E-8648-EA44E07CA840}" destId="{48CED1D5-6922-EC4E-8D5B-BC16CF38EE34}" srcOrd="1" destOrd="0" presId="urn:microsoft.com/office/officeart/2005/8/layout/hierarchy2"/>
    <dgm:cxn modelId="{C4308DFD-93F6-6746-85D8-0BC79EE65EBC}" type="presParOf" srcId="{48CED1D5-6922-EC4E-8D5B-BC16CF38EE34}" destId="{9E1CCE80-8EEB-9B41-83D9-BCD6307D1277}" srcOrd="0" destOrd="0" presId="urn:microsoft.com/office/officeart/2005/8/layout/hierarchy2"/>
    <dgm:cxn modelId="{8EA69C2A-CA10-BB45-8533-F9B5217F9D08}" type="presParOf" srcId="{9E1CCE80-8EEB-9B41-83D9-BCD6307D1277}" destId="{1F855AFB-A712-9B41-871C-4C1E0FC57701}" srcOrd="0" destOrd="0" presId="urn:microsoft.com/office/officeart/2005/8/layout/hierarchy2"/>
    <dgm:cxn modelId="{153F7B00-3778-9F4C-BE1A-B041E4FEBCFF}" type="presParOf" srcId="{48CED1D5-6922-EC4E-8D5B-BC16CF38EE34}" destId="{72F895DF-BD1F-684C-BA33-E9516649824C}" srcOrd="1" destOrd="0" presId="urn:microsoft.com/office/officeart/2005/8/layout/hierarchy2"/>
    <dgm:cxn modelId="{8244FD6D-AFE3-6946-9931-3FCD22DBB910}" type="presParOf" srcId="{72F895DF-BD1F-684C-BA33-E9516649824C}" destId="{26812E7E-0E6B-E347-9169-DE9F98D0DB3E}" srcOrd="0" destOrd="0" presId="urn:microsoft.com/office/officeart/2005/8/layout/hierarchy2"/>
    <dgm:cxn modelId="{7173D21D-A8D2-8041-A77D-191F8273489B}" type="presParOf" srcId="{72F895DF-BD1F-684C-BA33-E9516649824C}" destId="{2E29453A-C6AF-E246-9D75-C52E2B279E61}" srcOrd="1" destOrd="0" presId="urn:microsoft.com/office/officeart/2005/8/layout/hierarchy2"/>
    <dgm:cxn modelId="{7D0AABAF-6095-534E-B07B-35C318727A32}" type="presParOf" srcId="{48CED1D5-6922-EC4E-8D5B-BC16CF38EE34}" destId="{1DE7A2CD-401E-D04F-87BD-C74C7BAF969F}" srcOrd="2" destOrd="0" presId="urn:microsoft.com/office/officeart/2005/8/layout/hierarchy2"/>
    <dgm:cxn modelId="{9BF5F952-3AEE-E74A-8D29-26B6406639F0}" type="presParOf" srcId="{1DE7A2CD-401E-D04F-87BD-C74C7BAF969F}" destId="{59CD83C5-CB7D-9E43-AAEC-411B5EC76D7C}" srcOrd="0" destOrd="0" presId="urn:microsoft.com/office/officeart/2005/8/layout/hierarchy2"/>
    <dgm:cxn modelId="{46899236-ABA2-CA4F-BF1F-64B304F135F0}" type="presParOf" srcId="{48CED1D5-6922-EC4E-8D5B-BC16CF38EE34}" destId="{B26E24ED-BE56-6E4C-A9DF-90CC237E01F1}" srcOrd="3" destOrd="0" presId="urn:microsoft.com/office/officeart/2005/8/layout/hierarchy2"/>
    <dgm:cxn modelId="{2530803D-77E5-F348-8A2B-28883A5CB8ED}" type="presParOf" srcId="{B26E24ED-BE56-6E4C-A9DF-90CC237E01F1}" destId="{4CC0DCD1-0895-864F-B7C7-516C107AE38C}" srcOrd="0" destOrd="0" presId="urn:microsoft.com/office/officeart/2005/8/layout/hierarchy2"/>
    <dgm:cxn modelId="{FCCA171A-02B2-7D41-907F-802FF6760DC5}" type="presParOf" srcId="{B26E24ED-BE56-6E4C-A9DF-90CC237E01F1}" destId="{324AA9DE-69BD-B84A-991B-1D9A14CDF285}" srcOrd="1" destOrd="0" presId="urn:microsoft.com/office/officeart/2005/8/layout/hierarchy2"/>
    <dgm:cxn modelId="{11BCF6CB-E839-434E-A68A-5B70711BA7C7}" type="presParOf" srcId="{324AA9DE-69BD-B84A-991B-1D9A14CDF285}" destId="{6079395F-718E-2F4B-936A-321108B7071F}" srcOrd="0" destOrd="0" presId="urn:microsoft.com/office/officeart/2005/8/layout/hierarchy2"/>
    <dgm:cxn modelId="{A226C043-E484-5F46-81FF-6B8CF34EE710}" type="presParOf" srcId="{6079395F-718E-2F4B-936A-321108B7071F}" destId="{16B390F4-8A87-AA4F-B717-EEBDAB5949A7}" srcOrd="0" destOrd="0" presId="urn:microsoft.com/office/officeart/2005/8/layout/hierarchy2"/>
    <dgm:cxn modelId="{2CE7CEF6-90DE-F648-BDA9-1C038CCBF704}" type="presParOf" srcId="{324AA9DE-69BD-B84A-991B-1D9A14CDF285}" destId="{4DD694E0-D457-DA41-9BEF-1C970B87902F}" srcOrd="1" destOrd="0" presId="urn:microsoft.com/office/officeart/2005/8/layout/hierarchy2"/>
    <dgm:cxn modelId="{2FA01959-FE65-ED4E-933B-152D0C72D537}" type="presParOf" srcId="{4DD694E0-D457-DA41-9BEF-1C970B87902F}" destId="{138841DC-6C6E-D043-B4A6-F475CD289903}" srcOrd="0" destOrd="0" presId="urn:microsoft.com/office/officeart/2005/8/layout/hierarchy2"/>
    <dgm:cxn modelId="{74E4447A-797E-274E-817D-0C9F9DF601F9}" type="presParOf" srcId="{4DD694E0-D457-DA41-9BEF-1C970B87902F}" destId="{4546622B-8F15-3A45-831B-43C62DD7EE89}" srcOrd="1" destOrd="0" presId="urn:microsoft.com/office/officeart/2005/8/layout/hierarchy2"/>
    <dgm:cxn modelId="{27082A70-DB21-7A44-B5C4-E75F8FB4D54E}" type="presParOf" srcId="{324AA9DE-69BD-B84A-991B-1D9A14CDF285}" destId="{4B1D1239-F650-AF4B-AB57-20859BDF5E30}" srcOrd="2" destOrd="0" presId="urn:microsoft.com/office/officeart/2005/8/layout/hierarchy2"/>
    <dgm:cxn modelId="{DB4F218B-E745-A24D-8ABB-A7535DA96006}" type="presParOf" srcId="{4B1D1239-F650-AF4B-AB57-20859BDF5E30}" destId="{E4BEC1DC-4148-9741-A4D8-DA5D49879ACB}" srcOrd="0" destOrd="0" presId="urn:microsoft.com/office/officeart/2005/8/layout/hierarchy2"/>
    <dgm:cxn modelId="{6002553B-2125-864E-9B46-28A4FADAA2DB}" type="presParOf" srcId="{324AA9DE-69BD-B84A-991B-1D9A14CDF285}" destId="{D7B69D34-A051-3F42-A374-2D5981644045}" srcOrd="3" destOrd="0" presId="urn:microsoft.com/office/officeart/2005/8/layout/hierarchy2"/>
    <dgm:cxn modelId="{85BECDBA-A37C-D44E-A4C3-A5A604C9BFEE}" type="presParOf" srcId="{D7B69D34-A051-3F42-A374-2D5981644045}" destId="{46DC5A21-D8E5-6D4F-940B-D00427A0B98A}" srcOrd="0" destOrd="0" presId="urn:microsoft.com/office/officeart/2005/8/layout/hierarchy2"/>
    <dgm:cxn modelId="{D37221E1-3B81-D745-88ED-2E41862BDACD}" type="presParOf" srcId="{D7B69D34-A051-3F42-A374-2D5981644045}" destId="{F439F0D7-001D-854D-94BD-04EFC83B681F}" srcOrd="1" destOrd="0" presId="urn:microsoft.com/office/officeart/2005/8/layout/hierarchy2"/>
    <dgm:cxn modelId="{4BC95F78-8D93-7B41-A9C1-F140BD28F70F}" type="presParOf" srcId="{324AA9DE-69BD-B84A-991B-1D9A14CDF285}" destId="{0FD50884-0188-134D-9452-A635534FCE11}" srcOrd="4" destOrd="0" presId="urn:microsoft.com/office/officeart/2005/8/layout/hierarchy2"/>
    <dgm:cxn modelId="{2A77DA66-76EB-6247-A9D1-286D94334E93}" type="presParOf" srcId="{0FD50884-0188-134D-9452-A635534FCE11}" destId="{7200E270-81C0-9A4A-9B6E-5597CB39C8A0}" srcOrd="0" destOrd="0" presId="urn:microsoft.com/office/officeart/2005/8/layout/hierarchy2"/>
    <dgm:cxn modelId="{34146F02-879D-FB40-952E-6BF844B80AEA}" type="presParOf" srcId="{324AA9DE-69BD-B84A-991B-1D9A14CDF285}" destId="{E1645631-3A68-ED42-BF38-DF2BEF5335D4}" srcOrd="5" destOrd="0" presId="urn:microsoft.com/office/officeart/2005/8/layout/hierarchy2"/>
    <dgm:cxn modelId="{AF3EB59E-E05A-E142-A671-201B6F00852A}" type="presParOf" srcId="{E1645631-3A68-ED42-BF38-DF2BEF5335D4}" destId="{39423318-5B1A-4142-A7C1-48150E957D89}" srcOrd="0" destOrd="0" presId="urn:microsoft.com/office/officeart/2005/8/layout/hierarchy2"/>
    <dgm:cxn modelId="{C00283A0-F218-1E44-93A1-CD6A5D6C4A1D}" type="presParOf" srcId="{E1645631-3A68-ED42-BF38-DF2BEF5335D4}" destId="{8B59E8F7-F651-0540-AD43-9BC2DAC2A21D}" srcOrd="1" destOrd="0" presId="urn:microsoft.com/office/officeart/2005/8/layout/hierarchy2"/>
    <dgm:cxn modelId="{F88E8CC9-2A5F-5643-96A5-4B5F0DA39EA7}" type="presParOf" srcId="{324AA9DE-69BD-B84A-991B-1D9A14CDF285}" destId="{F71DF25D-2630-B24C-8E76-CC015F20B21A}" srcOrd="6" destOrd="0" presId="urn:microsoft.com/office/officeart/2005/8/layout/hierarchy2"/>
    <dgm:cxn modelId="{3FF468C2-2BDB-514A-9D2C-4B5429619723}" type="presParOf" srcId="{F71DF25D-2630-B24C-8E76-CC015F20B21A}" destId="{215F2495-4546-1649-9793-62D9F9CEE9E5}" srcOrd="0" destOrd="0" presId="urn:microsoft.com/office/officeart/2005/8/layout/hierarchy2"/>
    <dgm:cxn modelId="{2A955883-AEE2-A148-981C-EDBDAA62DC7E}" type="presParOf" srcId="{324AA9DE-69BD-B84A-991B-1D9A14CDF285}" destId="{AAFCEB2A-D133-B145-B699-3B5AD7BD705B}" srcOrd="7" destOrd="0" presId="urn:microsoft.com/office/officeart/2005/8/layout/hierarchy2"/>
    <dgm:cxn modelId="{835810F9-B721-2349-8346-356476017BC8}" type="presParOf" srcId="{AAFCEB2A-D133-B145-B699-3B5AD7BD705B}" destId="{D6E967DF-D3F4-134D-93D7-1F5048A8AFBE}" srcOrd="0" destOrd="0" presId="urn:microsoft.com/office/officeart/2005/8/layout/hierarchy2"/>
    <dgm:cxn modelId="{0B26BDBA-3E4C-8B46-A682-1EA67271A380}" type="presParOf" srcId="{AAFCEB2A-D133-B145-B699-3B5AD7BD705B}" destId="{30854218-4ABD-6442-BFD7-DFA1907DF319}" srcOrd="1" destOrd="0" presId="urn:microsoft.com/office/officeart/2005/8/layout/hierarchy2"/>
    <dgm:cxn modelId="{2D72FB5A-1F4F-3845-9DA4-5E17AE1DFFB4}" type="presParOf" srcId="{48CED1D5-6922-EC4E-8D5B-BC16CF38EE34}" destId="{358C1CCB-7271-E04D-92F6-2133C94E4D79}" srcOrd="4" destOrd="0" presId="urn:microsoft.com/office/officeart/2005/8/layout/hierarchy2"/>
    <dgm:cxn modelId="{FFFD7F42-AA90-3848-98F6-1C0BBE59D856}" type="presParOf" srcId="{358C1CCB-7271-E04D-92F6-2133C94E4D79}" destId="{043C5036-F450-C94F-BEEC-F8D1559CA68A}" srcOrd="0" destOrd="0" presId="urn:microsoft.com/office/officeart/2005/8/layout/hierarchy2"/>
    <dgm:cxn modelId="{841E0BFB-A98D-8144-8E3F-A24F88FC7354}" type="presParOf" srcId="{48CED1D5-6922-EC4E-8D5B-BC16CF38EE34}" destId="{2CC68BF7-67E2-9B42-AB3C-3F024796B6A8}" srcOrd="5" destOrd="0" presId="urn:microsoft.com/office/officeart/2005/8/layout/hierarchy2"/>
    <dgm:cxn modelId="{47AFBAB3-9094-254C-824D-0FD43FB9ED4C}" type="presParOf" srcId="{2CC68BF7-67E2-9B42-AB3C-3F024796B6A8}" destId="{60C93B86-6E8C-3A47-B0D8-1F8139C6C6E4}" srcOrd="0" destOrd="0" presId="urn:microsoft.com/office/officeart/2005/8/layout/hierarchy2"/>
    <dgm:cxn modelId="{69E89481-CE0B-3A46-9D7E-49E72A904CC8}" type="presParOf" srcId="{2CC68BF7-67E2-9B42-AB3C-3F024796B6A8}" destId="{82F48360-B91B-A540-B164-51F74EBDD709}" srcOrd="1" destOrd="0" presId="urn:microsoft.com/office/officeart/2005/8/layout/hierarchy2"/>
    <dgm:cxn modelId="{D0D8AB77-857F-564A-9AC8-D8C7E2E19450}" type="presParOf" srcId="{48CED1D5-6922-EC4E-8D5B-BC16CF38EE34}" destId="{70C73A82-4BA5-8D45-8448-C6F003FDA26D}" srcOrd="6" destOrd="0" presId="urn:microsoft.com/office/officeart/2005/8/layout/hierarchy2"/>
    <dgm:cxn modelId="{CBF49915-1ACE-6E4C-82DE-62E1F58C8956}" type="presParOf" srcId="{70C73A82-4BA5-8D45-8448-C6F003FDA26D}" destId="{54252ED8-3E0A-7D4E-8A70-ADBEC624F544}" srcOrd="0" destOrd="0" presId="urn:microsoft.com/office/officeart/2005/8/layout/hierarchy2"/>
    <dgm:cxn modelId="{3A974C9C-36D2-B948-921C-465EF8222D05}" type="presParOf" srcId="{48CED1D5-6922-EC4E-8D5B-BC16CF38EE34}" destId="{33AF5B34-7F73-B747-9C8C-152729900B43}" srcOrd="7" destOrd="0" presId="urn:microsoft.com/office/officeart/2005/8/layout/hierarchy2"/>
    <dgm:cxn modelId="{3D602852-6949-924E-8C04-1D2CFB87483D}" type="presParOf" srcId="{33AF5B34-7F73-B747-9C8C-152729900B43}" destId="{145A4B6E-AD6D-9C4C-AF55-2C98B934D3AB}" srcOrd="0" destOrd="0" presId="urn:microsoft.com/office/officeart/2005/8/layout/hierarchy2"/>
    <dgm:cxn modelId="{7B08A351-229D-B942-9496-C07B28CCC528}" type="presParOf" srcId="{33AF5B34-7F73-B747-9C8C-152729900B43}" destId="{5F26A9F0-7F79-CA44-A634-CA6E225F944C}" srcOrd="1" destOrd="0" presId="urn:microsoft.com/office/officeart/2005/8/layout/hierarchy2"/>
    <dgm:cxn modelId="{035963A8-37E7-EE4D-840A-6FDD3E48B446}" type="presParOf" srcId="{5F26A9F0-7F79-CA44-A634-CA6E225F944C}" destId="{1D942E5C-4E6A-ED4F-883D-355FB50CF4EA}" srcOrd="0" destOrd="0" presId="urn:microsoft.com/office/officeart/2005/8/layout/hierarchy2"/>
    <dgm:cxn modelId="{5FD5A509-2A89-1F4D-BCDC-B10A3B39820A}" type="presParOf" srcId="{1D942E5C-4E6A-ED4F-883D-355FB50CF4EA}" destId="{618547B1-F0DB-324B-B835-75F373A72990}" srcOrd="0" destOrd="0" presId="urn:microsoft.com/office/officeart/2005/8/layout/hierarchy2"/>
    <dgm:cxn modelId="{45421079-75E4-D84C-B464-C20FA157ABB5}" type="presParOf" srcId="{5F26A9F0-7F79-CA44-A634-CA6E225F944C}" destId="{AC38AEA7-DBC8-D447-AB63-2CCBEAA8FE90}" srcOrd="1" destOrd="0" presId="urn:microsoft.com/office/officeart/2005/8/layout/hierarchy2"/>
    <dgm:cxn modelId="{42361628-1B9C-5940-89E3-FA3D7F05C231}" type="presParOf" srcId="{AC38AEA7-DBC8-D447-AB63-2CCBEAA8FE90}" destId="{B75429D9-1FF5-6A45-B121-74D748B8BFFD}" srcOrd="0" destOrd="0" presId="urn:microsoft.com/office/officeart/2005/8/layout/hierarchy2"/>
    <dgm:cxn modelId="{93DAB722-9AC6-4042-9F72-50B9E6E12F6E}" type="presParOf" srcId="{AC38AEA7-DBC8-D447-AB63-2CCBEAA8FE90}" destId="{644E67A1-8FA8-D04A-B4CC-9E97AD6C68CC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6A80DEA-1955-F44A-ABCD-DD80431AB936}" type="doc">
      <dgm:prSet loTypeId="urn:microsoft.com/office/officeart/2005/8/layout/hierarchy2" loCatId="" qsTypeId="urn:microsoft.com/office/officeart/2005/8/quickstyle/3D4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78F0BEF0-3D27-AA42-9657-2610AA339463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Verified and Released Report</a:t>
          </a:r>
        </a:p>
      </dgm:t>
    </dgm:pt>
    <dgm:pt modelId="{87F5DA02-B907-0241-B954-E5D6881EED56}" type="parTrans" cxnId="{65CB1D01-CD53-644F-AFC9-A97F02033986}">
      <dgm:prSet/>
      <dgm:spPr/>
      <dgm:t>
        <a:bodyPr/>
        <a:lstStyle/>
        <a:p>
          <a:endParaRPr lang="en-US"/>
        </a:p>
      </dgm:t>
    </dgm:pt>
    <dgm:pt modelId="{A791E927-711E-F042-A584-DF4A290FD2DD}" type="sibTrans" cxnId="{65CB1D01-CD53-644F-AFC9-A97F02033986}">
      <dgm:prSet/>
      <dgm:spPr/>
      <dgm:t>
        <a:bodyPr/>
        <a:lstStyle/>
        <a:p>
          <a:endParaRPr lang="en-US"/>
        </a:p>
      </dgm:t>
    </dgm:pt>
    <dgm:pt modelId="{6B57DDE5-4902-7B47-97F6-CEA261894971}">
      <dgm:prSet phldrT="[Text]"/>
      <dgm:spPr>
        <a:solidFill>
          <a:schemeClr val="accent2"/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Users Alerts</a:t>
          </a:r>
        </a:p>
      </dgm:t>
    </dgm:pt>
    <dgm:pt modelId="{12C827E6-8B0F-AC47-8914-349A22E4BAB0}" type="parTrans" cxnId="{D1B59472-0634-5E4F-BED2-867D0DDF4D0F}">
      <dgm:prSet/>
      <dgm:spPr>
        <a:ln>
          <a:solidFill>
            <a:srgbClr val="C0504D"/>
          </a:solidFill>
        </a:ln>
      </dgm:spPr>
      <dgm:t>
        <a:bodyPr/>
        <a:lstStyle/>
        <a:p>
          <a:endParaRPr lang="en-US"/>
        </a:p>
      </dgm:t>
    </dgm:pt>
    <dgm:pt modelId="{29AECAFA-D002-A241-99BE-5FA4AEED7DAA}" type="sibTrans" cxnId="{D1B59472-0634-5E4F-BED2-867D0DDF4D0F}">
      <dgm:prSet/>
      <dgm:spPr/>
      <dgm:t>
        <a:bodyPr/>
        <a:lstStyle/>
        <a:p>
          <a:endParaRPr lang="en-US"/>
        </a:p>
      </dgm:t>
    </dgm:pt>
    <dgm:pt modelId="{C7852320-9546-9F4A-9D8B-66D94BB1E07F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By Species</a:t>
          </a:r>
        </a:p>
      </dgm:t>
    </dgm:pt>
    <dgm:pt modelId="{064AED13-4958-ED40-8726-8D478F8682CE}" type="parTrans" cxnId="{3F8E045D-338B-8E40-994A-FC564EA51F90}">
      <dgm:prSet/>
      <dgm:spPr>
        <a:solidFill>
          <a:schemeClr val="accent2"/>
        </a:solidFill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BC9A0512-CD62-5B48-8579-738EF4E81F58}" type="sibTrans" cxnId="{3F8E045D-338B-8E40-994A-FC564EA51F90}">
      <dgm:prSet/>
      <dgm:spPr/>
      <dgm:t>
        <a:bodyPr/>
        <a:lstStyle/>
        <a:p>
          <a:endParaRPr lang="en-US"/>
        </a:p>
      </dgm:t>
    </dgm:pt>
    <dgm:pt modelId="{1B376ECE-DC4E-1743-932F-26F598407A2B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By Location</a:t>
          </a:r>
        </a:p>
      </dgm:t>
    </dgm:pt>
    <dgm:pt modelId="{357FC2DD-C84F-A644-8DB4-E4CA10B3ED57}" type="parTrans" cxnId="{C489BDBC-09FF-FF47-B0B3-642848D35757}">
      <dgm:prSet/>
      <dgm:spPr>
        <a:solidFill>
          <a:schemeClr val="accent2"/>
        </a:solidFill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6B2E4E33-23FC-2744-84B7-7B295F71808E}" type="sibTrans" cxnId="{C489BDBC-09FF-FF47-B0B3-642848D35757}">
      <dgm:prSet/>
      <dgm:spPr/>
      <dgm:t>
        <a:bodyPr/>
        <a:lstStyle/>
        <a:p>
          <a:endParaRPr lang="en-US"/>
        </a:p>
      </dgm:t>
    </dgm:pt>
    <dgm:pt modelId="{810FB50B-08D6-7047-9375-7C7A6EADCD37}">
      <dgm:prSet phldrT="[Text]"/>
      <dgm:spPr>
        <a:ln>
          <a:solidFill>
            <a:srgbClr val="4F81BD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Maps</a:t>
          </a:r>
        </a:p>
      </dgm:t>
    </dgm:pt>
    <dgm:pt modelId="{769073FD-BD44-CB49-9125-16B23A68D2BA}" type="parTrans" cxnId="{94097291-40DE-6A48-971D-BE917E6188ED}">
      <dgm:prSet/>
      <dgm:spPr>
        <a:ln>
          <a:solidFill>
            <a:srgbClr val="4F81BD"/>
          </a:solidFill>
        </a:ln>
      </dgm:spPr>
      <dgm:t>
        <a:bodyPr/>
        <a:lstStyle/>
        <a:p>
          <a:endParaRPr lang="en-US"/>
        </a:p>
      </dgm:t>
    </dgm:pt>
    <dgm:pt modelId="{7456C4D0-0A7E-E145-A3D3-A4D564E3FB37}" type="sibTrans" cxnId="{94097291-40DE-6A48-971D-BE917E6188ED}">
      <dgm:prSet/>
      <dgm:spPr/>
      <dgm:t>
        <a:bodyPr/>
        <a:lstStyle/>
        <a:p>
          <a:endParaRPr lang="en-US"/>
        </a:p>
      </dgm:t>
    </dgm:pt>
    <dgm:pt modelId="{1BD7CA5D-8B9C-6A4E-8216-2F9C7356C514}">
      <dgm:prSet phldrT="[Text]"/>
      <dgm:spPr>
        <a:solidFill>
          <a:schemeClr val="accent1">
            <a:lumMod val="60000"/>
            <a:lumOff val="4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State Distribution</a:t>
          </a:r>
        </a:p>
      </dgm:t>
    </dgm:pt>
    <dgm:pt modelId="{78B979A8-EE57-0440-A650-8AD31C68B525}" type="parTrans" cxnId="{65A60E5E-2B1D-0D4E-ADD8-CA2122AEEC71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54ED263F-901C-0B49-8D11-19C1FDE4D7B4}" type="sibTrans" cxnId="{65A60E5E-2B1D-0D4E-ADD8-CA2122AEEC71}">
      <dgm:prSet/>
      <dgm:spPr/>
      <dgm:t>
        <a:bodyPr/>
        <a:lstStyle/>
        <a:p>
          <a:endParaRPr lang="en-US"/>
        </a:p>
      </dgm:t>
    </dgm:pt>
    <dgm:pt modelId="{59E5EE86-7CF5-7749-9996-60033D07CA55}">
      <dgm:prSet/>
      <dgm:spPr>
        <a:solidFill>
          <a:schemeClr val="accent1">
            <a:lumMod val="60000"/>
            <a:lumOff val="4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County Distribution</a:t>
          </a:r>
        </a:p>
      </dgm:t>
    </dgm:pt>
    <dgm:pt modelId="{64194136-30AC-1745-83D6-EA2428D3CF00}" type="parTrans" cxnId="{2170BD6A-51C1-E44D-B86C-1A95DCF07DC3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90F98CE0-1E87-9C4B-9383-CA9508BCD2BF}" type="sibTrans" cxnId="{2170BD6A-51C1-E44D-B86C-1A95DCF07DC3}">
      <dgm:prSet/>
      <dgm:spPr/>
      <dgm:t>
        <a:bodyPr/>
        <a:lstStyle/>
        <a:p>
          <a:endParaRPr lang="en-US"/>
        </a:p>
      </dgm:t>
    </dgm:pt>
    <dgm:pt modelId="{9576AE82-9C0A-D74D-A3A2-DDE77B48C386}">
      <dgm:prSet/>
      <dgm:spPr>
        <a:solidFill>
          <a:schemeClr val="accent6"/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Data Feeds</a:t>
          </a:r>
        </a:p>
      </dgm:t>
    </dgm:pt>
    <dgm:pt modelId="{7A4356E9-5071-964B-86F0-BDE4F31289EA}" type="parTrans" cxnId="{C17C19DD-4155-A34A-B592-20679D854220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A308470C-A69F-694C-8A60-7897430A28D9}" type="sibTrans" cxnId="{C17C19DD-4155-A34A-B592-20679D854220}">
      <dgm:prSet/>
      <dgm:spPr/>
      <dgm:t>
        <a:bodyPr/>
        <a:lstStyle/>
        <a:p>
          <a:endParaRPr lang="en-US"/>
        </a:p>
      </dgm:t>
    </dgm:pt>
    <dgm:pt modelId="{1E4805AD-2F1A-B54C-BECE-F2F38ACEA695}">
      <dgm:prSet/>
      <dgm:spPr>
        <a:solidFill>
          <a:schemeClr val="accent6">
            <a:lumMod val="60000"/>
            <a:lumOff val="4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GISIN</a:t>
          </a:r>
        </a:p>
      </dgm:t>
    </dgm:pt>
    <dgm:pt modelId="{1AD756B8-B568-3F40-9C1D-F52720A22F55}" type="parTrans" cxnId="{CDA5D122-0158-EF48-892F-57F1844CCD4D}">
      <dgm:prSet/>
      <dgm:spPr>
        <a:solidFill>
          <a:schemeClr val="accent6"/>
        </a:solidFill>
      </dgm:spPr>
      <dgm:t>
        <a:bodyPr/>
        <a:lstStyle/>
        <a:p>
          <a:endParaRPr lang="en-US"/>
        </a:p>
      </dgm:t>
    </dgm:pt>
    <dgm:pt modelId="{4F3922EB-E86A-8645-9C82-42808B8E9283}" type="sibTrans" cxnId="{CDA5D122-0158-EF48-892F-57F1844CCD4D}">
      <dgm:prSet/>
      <dgm:spPr/>
      <dgm:t>
        <a:bodyPr/>
        <a:lstStyle/>
        <a:p>
          <a:endParaRPr lang="en-US"/>
        </a:p>
      </dgm:t>
    </dgm:pt>
    <dgm:pt modelId="{BB72F6BA-A929-A34D-973A-5670DE9D8143}">
      <dgm:prSet/>
      <dgm:spPr>
        <a:solidFill>
          <a:schemeClr val="accent6">
            <a:lumMod val="60000"/>
            <a:lumOff val="4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Recent Reports RSS</a:t>
          </a:r>
        </a:p>
      </dgm:t>
    </dgm:pt>
    <dgm:pt modelId="{4463F0D5-B9CD-CD4C-AEC0-B31B8C62ACF2}" type="parTrans" cxnId="{38162BFB-57BA-A042-966E-27B08E36B95E}">
      <dgm:prSet/>
      <dgm:spPr>
        <a:solidFill>
          <a:schemeClr val="accent6"/>
        </a:solidFill>
      </dgm:spPr>
      <dgm:t>
        <a:bodyPr/>
        <a:lstStyle/>
        <a:p>
          <a:endParaRPr lang="en-US"/>
        </a:p>
      </dgm:t>
    </dgm:pt>
    <dgm:pt modelId="{A7C81BD5-0BF3-F746-9D7E-FC07049BB0C6}" type="sibTrans" cxnId="{38162BFB-57BA-A042-966E-27B08E36B95E}">
      <dgm:prSet/>
      <dgm:spPr/>
      <dgm:t>
        <a:bodyPr/>
        <a:lstStyle/>
        <a:p>
          <a:endParaRPr lang="en-US"/>
        </a:p>
      </dgm:t>
    </dgm:pt>
    <dgm:pt modelId="{1B868441-ED3C-C947-BB87-7B69D2C29121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By Project</a:t>
          </a:r>
        </a:p>
      </dgm:t>
    </dgm:pt>
    <dgm:pt modelId="{7AA73FD6-DBE0-9147-A481-2E1BAC5503DA}" type="parTrans" cxnId="{66B7AC2E-509E-5340-A2B9-281033309D35}">
      <dgm:prSet/>
      <dgm:spPr>
        <a:solidFill>
          <a:schemeClr val="accent2"/>
        </a:solidFill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DACD568B-09B3-9842-8840-2A5FF264323E}" type="sibTrans" cxnId="{66B7AC2E-509E-5340-A2B9-281033309D35}">
      <dgm:prSet/>
      <dgm:spPr/>
      <dgm:t>
        <a:bodyPr/>
        <a:lstStyle/>
        <a:p>
          <a:endParaRPr lang="en-US"/>
        </a:p>
      </dgm:t>
    </dgm:pt>
    <dgm:pt modelId="{E630A538-E4B2-AC42-830C-8845F6AB01E2}">
      <dgm:prSet/>
      <dgm:spPr>
        <a:solidFill>
          <a:schemeClr val="accent6">
            <a:lumMod val="60000"/>
            <a:lumOff val="4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API</a:t>
          </a:r>
        </a:p>
      </dgm:t>
    </dgm:pt>
    <dgm:pt modelId="{D98E03CA-4D93-1646-9324-0880FEDCC939}" type="parTrans" cxnId="{310E9FA4-1AA3-8A4B-BB07-FA3E377FC025}">
      <dgm:prSet/>
      <dgm:spPr>
        <a:solidFill>
          <a:schemeClr val="accent6"/>
        </a:solidFill>
      </dgm:spPr>
      <dgm:t>
        <a:bodyPr/>
        <a:lstStyle/>
        <a:p>
          <a:endParaRPr lang="en-US"/>
        </a:p>
      </dgm:t>
    </dgm:pt>
    <dgm:pt modelId="{037A53D7-D0CA-AF49-8E89-044E01654389}" type="sibTrans" cxnId="{310E9FA4-1AA3-8A4B-BB07-FA3E377FC025}">
      <dgm:prSet/>
      <dgm:spPr/>
      <dgm:t>
        <a:bodyPr/>
        <a:lstStyle/>
        <a:p>
          <a:endParaRPr lang="en-US"/>
        </a:p>
      </dgm:t>
    </dgm:pt>
    <dgm:pt modelId="{18037F9F-FBA4-6A44-A3E9-763D691B20FF}">
      <dgm:prSet/>
      <dgm:spPr>
        <a:solidFill>
          <a:schemeClr val="accent1">
            <a:lumMod val="60000"/>
            <a:lumOff val="4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Google Point Maps</a:t>
          </a:r>
        </a:p>
      </dgm:t>
    </dgm:pt>
    <dgm:pt modelId="{425870AC-E9A4-844D-970E-169807CD3CA9}" type="parTrans" cxnId="{CC671FDE-1FE3-7E47-88DB-97F0BD4A5678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FF9DCBEB-C244-D743-945D-0302085F68A2}" type="sibTrans" cxnId="{CC671FDE-1FE3-7E47-88DB-97F0BD4A5678}">
      <dgm:prSet/>
      <dgm:spPr/>
      <dgm:t>
        <a:bodyPr/>
        <a:lstStyle/>
        <a:p>
          <a:endParaRPr lang="en-US"/>
        </a:p>
      </dgm:t>
    </dgm:pt>
    <dgm:pt modelId="{E16273B0-DC57-F94C-B46A-E99037135693}">
      <dgm:prSet/>
      <dgm:spPr>
        <a:solidFill>
          <a:schemeClr val="accent1">
            <a:lumMod val="60000"/>
            <a:lumOff val="4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ArcGIS</a:t>
          </a:r>
        </a:p>
      </dgm:t>
    </dgm:pt>
    <dgm:pt modelId="{B5F82ACA-CAA8-8D41-B2C5-44485C06AA6B}" type="parTrans" cxnId="{C356C7A0-D49A-3245-8EAF-F2F0AD9EFB5E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2D51675D-90FB-1B4C-9E71-7BA2226F37F0}" type="sibTrans" cxnId="{C356C7A0-D49A-3245-8EAF-F2F0AD9EFB5E}">
      <dgm:prSet/>
      <dgm:spPr/>
      <dgm:t>
        <a:bodyPr/>
        <a:lstStyle/>
        <a:p>
          <a:endParaRPr lang="en-US"/>
        </a:p>
      </dgm:t>
    </dgm:pt>
    <dgm:pt modelId="{5D642654-8B97-2D49-8A58-DE82FD170919}">
      <dgm:prSet/>
      <dgm:spPr>
        <a:solidFill>
          <a:schemeClr val="accent1">
            <a:lumMod val="60000"/>
            <a:lumOff val="4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Custom Maps</a:t>
          </a:r>
        </a:p>
      </dgm:t>
    </dgm:pt>
    <dgm:pt modelId="{BA1D2D4A-9060-9C42-BE97-22F30990072E}" type="parTrans" cxnId="{97C4D5F9-B8CD-E04E-A2C1-7F391FD01789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1EEA7020-78FE-574C-B3A1-8D5069D8751F}" type="sibTrans" cxnId="{97C4D5F9-B8CD-E04E-A2C1-7F391FD01789}">
      <dgm:prSet/>
      <dgm:spPr/>
      <dgm:t>
        <a:bodyPr/>
        <a:lstStyle/>
        <a:p>
          <a:endParaRPr lang="en-US"/>
        </a:p>
      </dgm:t>
    </dgm:pt>
    <dgm:pt modelId="{39473E67-F1D8-3A47-835F-35F126EA4EB4}" type="pres">
      <dgm:prSet presAssocID="{56A80DEA-1955-F44A-ABCD-DD80431AB936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A7C657C-9D1E-2344-B684-48BC007AF85A}" type="pres">
      <dgm:prSet presAssocID="{78F0BEF0-3D27-AA42-9657-2610AA339463}" presName="root1" presStyleCnt="0"/>
      <dgm:spPr/>
    </dgm:pt>
    <dgm:pt modelId="{88A293C5-BEA6-6942-99E9-DBCAF253E5B2}" type="pres">
      <dgm:prSet presAssocID="{78F0BEF0-3D27-AA42-9657-2610AA339463}" presName="LevelOneTextNode" presStyleLbl="node0" presStyleIdx="0" presStyleCnt="1" custScaleX="155045" custScaleY="142899" custLinFactX="-40847" custLinFactY="-66777" custLinFactNeighborX="-100000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214A0A5-5635-984C-B729-380CCFF791A3}" type="pres">
      <dgm:prSet presAssocID="{78F0BEF0-3D27-AA42-9657-2610AA339463}" presName="level2hierChild" presStyleCnt="0"/>
      <dgm:spPr/>
    </dgm:pt>
    <dgm:pt modelId="{0993DCB1-7878-3243-8D49-E078F38CC5CF}" type="pres">
      <dgm:prSet presAssocID="{12C827E6-8B0F-AC47-8914-349A22E4BAB0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7CAE1739-E84C-EC4E-A0C8-7AA8C89EAAAB}" type="pres">
      <dgm:prSet presAssocID="{12C827E6-8B0F-AC47-8914-349A22E4BAB0}" presName="connTx" presStyleLbl="parChTrans1D2" presStyleIdx="0" presStyleCnt="3"/>
      <dgm:spPr/>
      <dgm:t>
        <a:bodyPr/>
        <a:lstStyle/>
        <a:p>
          <a:endParaRPr lang="en-US"/>
        </a:p>
      </dgm:t>
    </dgm:pt>
    <dgm:pt modelId="{CF98F2C4-D708-FC4E-9B4E-680CA205CD03}" type="pres">
      <dgm:prSet presAssocID="{6B57DDE5-4902-7B47-97F6-CEA261894971}" presName="root2" presStyleCnt="0"/>
      <dgm:spPr/>
    </dgm:pt>
    <dgm:pt modelId="{34FA3386-1288-7C4C-9DD8-611039E6E056}" type="pres">
      <dgm:prSet presAssocID="{6B57DDE5-4902-7B47-97F6-CEA261894971}" presName="LevelTwoTextNode" presStyleLbl="node2" presStyleIdx="0" presStyleCnt="3" custLinFactX="-60598" custLinFactNeighborX="-100000" custLinFactNeighborY="1277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132AB80-2789-5644-A907-3D73852FEDBF}" type="pres">
      <dgm:prSet presAssocID="{6B57DDE5-4902-7B47-97F6-CEA261894971}" presName="level3hierChild" presStyleCnt="0"/>
      <dgm:spPr/>
    </dgm:pt>
    <dgm:pt modelId="{46944D52-577E-9949-91A2-AEFAF51D12BA}" type="pres">
      <dgm:prSet presAssocID="{064AED13-4958-ED40-8726-8D478F8682CE}" presName="conn2-1" presStyleLbl="parChTrans1D3" presStyleIdx="0" presStyleCnt="11"/>
      <dgm:spPr/>
      <dgm:t>
        <a:bodyPr/>
        <a:lstStyle/>
        <a:p>
          <a:endParaRPr lang="en-US"/>
        </a:p>
      </dgm:t>
    </dgm:pt>
    <dgm:pt modelId="{409F8A47-6D5F-1D4E-9E25-A23F1D7988EF}" type="pres">
      <dgm:prSet presAssocID="{064AED13-4958-ED40-8726-8D478F8682CE}" presName="connTx" presStyleLbl="parChTrans1D3" presStyleIdx="0" presStyleCnt="11"/>
      <dgm:spPr/>
      <dgm:t>
        <a:bodyPr/>
        <a:lstStyle/>
        <a:p>
          <a:endParaRPr lang="en-US"/>
        </a:p>
      </dgm:t>
    </dgm:pt>
    <dgm:pt modelId="{6C30E5DC-2E3C-8446-B918-B03E26FC1360}" type="pres">
      <dgm:prSet presAssocID="{C7852320-9546-9F4A-9D8B-66D94BB1E07F}" presName="root2" presStyleCnt="0"/>
      <dgm:spPr/>
    </dgm:pt>
    <dgm:pt modelId="{6BCCEF5E-7229-1244-9DE2-AAB2A20729A3}" type="pres">
      <dgm:prSet presAssocID="{C7852320-9546-9F4A-9D8B-66D94BB1E07F}" presName="LevelTwoTextNode" presStyleLbl="node3" presStyleIdx="0" presStyleCnt="11" custScaleX="134002" custLinFactX="-48486" custLinFactNeighborX="-100000" custLinFactNeighborY="1974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04A8E04-9FB7-FC45-BC6B-B42A2F359373}" type="pres">
      <dgm:prSet presAssocID="{C7852320-9546-9F4A-9D8B-66D94BB1E07F}" presName="level3hierChild" presStyleCnt="0"/>
      <dgm:spPr/>
    </dgm:pt>
    <dgm:pt modelId="{EF770FBE-2A83-3E47-BF04-CF96DB11D443}" type="pres">
      <dgm:prSet presAssocID="{357FC2DD-C84F-A644-8DB4-E4CA10B3ED57}" presName="conn2-1" presStyleLbl="parChTrans1D3" presStyleIdx="1" presStyleCnt="11"/>
      <dgm:spPr/>
      <dgm:t>
        <a:bodyPr/>
        <a:lstStyle/>
        <a:p>
          <a:endParaRPr lang="en-US"/>
        </a:p>
      </dgm:t>
    </dgm:pt>
    <dgm:pt modelId="{7A00B5E3-F98B-5241-9F8A-75F88FEA0124}" type="pres">
      <dgm:prSet presAssocID="{357FC2DD-C84F-A644-8DB4-E4CA10B3ED57}" presName="connTx" presStyleLbl="parChTrans1D3" presStyleIdx="1" presStyleCnt="11"/>
      <dgm:spPr/>
      <dgm:t>
        <a:bodyPr/>
        <a:lstStyle/>
        <a:p>
          <a:endParaRPr lang="en-US"/>
        </a:p>
      </dgm:t>
    </dgm:pt>
    <dgm:pt modelId="{B1939C78-F10F-5145-A76F-A3489C5FB5B1}" type="pres">
      <dgm:prSet presAssocID="{1B376ECE-DC4E-1743-932F-26F598407A2B}" presName="root2" presStyleCnt="0"/>
      <dgm:spPr/>
    </dgm:pt>
    <dgm:pt modelId="{2F84AD96-ED24-AB44-9E01-B34C906B8478}" type="pres">
      <dgm:prSet presAssocID="{1B376ECE-DC4E-1743-932F-26F598407A2B}" presName="LevelTwoTextNode" presStyleLbl="node3" presStyleIdx="1" presStyleCnt="11" custScaleX="134002" custLinFactX="-48486" custLinFactNeighborX="-100000" custLinFactNeighborY="1250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B1A83AC-42E5-024E-8A18-6333B0BB45F3}" type="pres">
      <dgm:prSet presAssocID="{1B376ECE-DC4E-1743-932F-26F598407A2B}" presName="level3hierChild" presStyleCnt="0"/>
      <dgm:spPr/>
    </dgm:pt>
    <dgm:pt modelId="{438046C7-AFBC-5F4D-9A8E-EFE455B90867}" type="pres">
      <dgm:prSet presAssocID="{7AA73FD6-DBE0-9147-A481-2E1BAC5503DA}" presName="conn2-1" presStyleLbl="parChTrans1D3" presStyleIdx="2" presStyleCnt="11"/>
      <dgm:spPr/>
      <dgm:t>
        <a:bodyPr/>
        <a:lstStyle/>
        <a:p>
          <a:endParaRPr lang="en-US"/>
        </a:p>
      </dgm:t>
    </dgm:pt>
    <dgm:pt modelId="{43606FDE-9B7A-6F45-8907-529B7CB79ED4}" type="pres">
      <dgm:prSet presAssocID="{7AA73FD6-DBE0-9147-A481-2E1BAC5503DA}" presName="connTx" presStyleLbl="parChTrans1D3" presStyleIdx="2" presStyleCnt="11"/>
      <dgm:spPr/>
      <dgm:t>
        <a:bodyPr/>
        <a:lstStyle/>
        <a:p>
          <a:endParaRPr lang="en-US"/>
        </a:p>
      </dgm:t>
    </dgm:pt>
    <dgm:pt modelId="{60E28F82-E19C-4148-A1C6-C8585AB0371E}" type="pres">
      <dgm:prSet presAssocID="{1B868441-ED3C-C947-BB87-7B69D2C29121}" presName="root2" presStyleCnt="0"/>
      <dgm:spPr/>
    </dgm:pt>
    <dgm:pt modelId="{F6F49D34-7343-F64A-B4FD-701963DD5C72}" type="pres">
      <dgm:prSet presAssocID="{1B868441-ED3C-C947-BB87-7B69D2C29121}" presName="LevelTwoTextNode" presStyleLbl="node3" presStyleIdx="2" presStyleCnt="11" custScaleX="134002" custLinFactX="-49788" custLinFactNeighborX="-100000" custLinFactNeighborY="205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F691B87-ECA6-3646-A118-FDAA8539AAC0}" type="pres">
      <dgm:prSet presAssocID="{1B868441-ED3C-C947-BB87-7B69D2C29121}" presName="level3hierChild" presStyleCnt="0"/>
      <dgm:spPr/>
    </dgm:pt>
    <dgm:pt modelId="{60315064-1D90-C64A-BB3E-9B2DE060ADBF}" type="pres">
      <dgm:prSet presAssocID="{769073FD-BD44-CB49-9125-16B23A68D2BA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D0514FA9-C60E-F44F-ABCA-72AE138EED24}" type="pres">
      <dgm:prSet presAssocID="{769073FD-BD44-CB49-9125-16B23A68D2BA}" presName="connTx" presStyleLbl="parChTrans1D2" presStyleIdx="1" presStyleCnt="3"/>
      <dgm:spPr/>
      <dgm:t>
        <a:bodyPr/>
        <a:lstStyle/>
        <a:p>
          <a:endParaRPr lang="en-US"/>
        </a:p>
      </dgm:t>
    </dgm:pt>
    <dgm:pt modelId="{8DE8EE3F-F255-2440-9087-A761B67FE8BA}" type="pres">
      <dgm:prSet presAssocID="{810FB50B-08D6-7047-9375-7C7A6EADCD37}" presName="root2" presStyleCnt="0"/>
      <dgm:spPr/>
    </dgm:pt>
    <dgm:pt modelId="{871E8B3C-79EA-E449-B957-D5B519964EE6}" type="pres">
      <dgm:prSet presAssocID="{810FB50B-08D6-7047-9375-7C7A6EADCD37}" presName="LevelTwoTextNode" presStyleLbl="node2" presStyleIdx="1" presStyleCnt="3" custScaleX="138228" custScaleY="129779" custLinFactY="-66293" custLinFactNeighborX="-8300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23888B8-B057-F44A-AEC4-F0AD5F05714E}" type="pres">
      <dgm:prSet presAssocID="{810FB50B-08D6-7047-9375-7C7A6EADCD37}" presName="level3hierChild" presStyleCnt="0"/>
      <dgm:spPr/>
    </dgm:pt>
    <dgm:pt modelId="{A234FA20-E8A7-5841-A3A8-D41618BA5199}" type="pres">
      <dgm:prSet presAssocID="{78B979A8-EE57-0440-A650-8AD31C68B525}" presName="conn2-1" presStyleLbl="parChTrans1D3" presStyleIdx="3" presStyleCnt="11"/>
      <dgm:spPr/>
      <dgm:t>
        <a:bodyPr/>
        <a:lstStyle/>
        <a:p>
          <a:endParaRPr lang="en-US"/>
        </a:p>
      </dgm:t>
    </dgm:pt>
    <dgm:pt modelId="{4A18F7D9-9B8E-2443-8225-257880FE1365}" type="pres">
      <dgm:prSet presAssocID="{78B979A8-EE57-0440-A650-8AD31C68B525}" presName="connTx" presStyleLbl="parChTrans1D3" presStyleIdx="3" presStyleCnt="11"/>
      <dgm:spPr/>
      <dgm:t>
        <a:bodyPr/>
        <a:lstStyle/>
        <a:p>
          <a:endParaRPr lang="en-US"/>
        </a:p>
      </dgm:t>
    </dgm:pt>
    <dgm:pt modelId="{85719B29-7849-F843-8104-64917C6BFFDF}" type="pres">
      <dgm:prSet presAssocID="{1BD7CA5D-8B9C-6A4E-8216-2F9C7356C514}" presName="root2" presStyleCnt="0"/>
      <dgm:spPr/>
    </dgm:pt>
    <dgm:pt modelId="{0D72F578-01E5-284E-A0AB-BE2C3572DBA3}" type="pres">
      <dgm:prSet presAssocID="{1BD7CA5D-8B9C-6A4E-8216-2F9C7356C514}" presName="LevelTwoTextNode" presStyleLbl="node3" presStyleIdx="3" presStyleCnt="11" custScaleX="156336" custLinFactY="-71792" custLinFactNeighborX="95944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8EB85D5-92BB-4E4B-8E66-5D3146E4D3CC}" type="pres">
      <dgm:prSet presAssocID="{1BD7CA5D-8B9C-6A4E-8216-2F9C7356C514}" presName="level3hierChild" presStyleCnt="0"/>
      <dgm:spPr/>
    </dgm:pt>
    <dgm:pt modelId="{6777A401-1ED0-8148-A3BD-2BB5AC024BFC}" type="pres">
      <dgm:prSet presAssocID="{64194136-30AC-1745-83D6-EA2428D3CF00}" presName="conn2-1" presStyleLbl="parChTrans1D3" presStyleIdx="4" presStyleCnt="11"/>
      <dgm:spPr/>
      <dgm:t>
        <a:bodyPr/>
        <a:lstStyle/>
        <a:p>
          <a:endParaRPr lang="en-US"/>
        </a:p>
      </dgm:t>
    </dgm:pt>
    <dgm:pt modelId="{453E485C-5B58-7048-B81B-6E2050F05617}" type="pres">
      <dgm:prSet presAssocID="{64194136-30AC-1745-83D6-EA2428D3CF00}" presName="connTx" presStyleLbl="parChTrans1D3" presStyleIdx="4" presStyleCnt="11"/>
      <dgm:spPr/>
      <dgm:t>
        <a:bodyPr/>
        <a:lstStyle/>
        <a:p>
          <a:endParaRPr lang="en-US"/>
        </a:p>
      </dgm:t>
    </dgm:pt>
    <dgm:pt modelId="{E817154C-5C0E-8E40-8B8E-4446B880993D}" type="pres">
      <dgm:prSet presAssocID="{59E5EE86-7CF5-7749-9996-60033D07CA55}" presName="root2" presStyleCnt="0"/>
      <dgm:spPr/>
    </dgm:pt>
    <dgm:pt modelId="{BBA3A21B-AA75-C047-A29B-24E7CC694176}" type="pres">
      <dgm:prSet presAssocID="{59E5EE86-7CF5-7749-9996-60033D07CA55}" presName="LevelTwoTextNode" presStyleLbl="node3" presStyleIdx="4" presStyleCnt="11" custScaleX="156336" custLinFactY="-68254" custLinFactNeighborX="95944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FA9B99C-8F77-9F48-A739-791C24166966}" type="pres">
      <dgm:prSet presAssocID="{59E5EE86-7CF5-7749-9996-60033D07CA55}" presName="level3hierChild" presStyleCnt="0"/>
      <dgm:spPr/>
    </dgm:pt>
    <dgm:pt modelId="{FF11A265-5B5C-9B4A-875A-04D52A8B2F75}" type="pres">
      <dgm:prSet presAssocID="{425870AC-E9A4-844D-970E-169807CD3CA9}" presName="conn2-1" presStyleLbl="parChTrans1D3" presStyleIdx="5" presStyleCnt="11"/>
      <dgm:spPr/>
      <dgm:t>
        <a:bodyPr/>
        <a:lstStyle/>
        <a:p>
          <a:endParaRPr lang="en-US"/>
        </a:p>
      </dgm:t>
    </dgm:pt>
    <dgm:pt modelId="{71D2B678-F3F9-BB49-B53B-B0330C925B41}" type="pres">
      <dgm:prSet presAssocID="{425870AC-E9A4-844D-970E-169807CD3CA9}" presName="connTx" presStyleLbl="parChTrans1D3" presStyleIdx="5" presStyleCnt="11"/>
      <dgm:spPr/>
      <dgm:t>
        <a:bodyPr/>
        <a:lstStyle/>
        <a:p>
          <a:endParaRPr lang="en-US"/>
        </a:p>
      </dgm:t>
    </dgm:pt>
    <dgm:pt modelId="{F9721A5A-26D1-C54F-B2FA-96ED2E6887B6}" type="pres">
      <dgm:prSet presAssocID="{18037F9F-FBA4-6A44-A3E9-763D691B20FF}" presName="root2" presStyleCnt="0"/>
      <dgm:spPr/>
    </dgm:pt>
    <dgm:pt modelId="{AEAB2C15-06BC-1D42-8247-3686A3F48D9D}" type="pres">
      <dgm:prSet presAssocID="{18037F9F-FBA4-6A44-A3E9-763D691B20FF}" presName="LevelTwoTextNode" presStyleLbl="node3" presStyleIdx="5" presStyleCnt="11" custScaleX="156336" custLinFactY="-64717" custLinFactNeighborX="95944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B4F302C-B894-6F40-81C5-FA228D9B79E1}" type="pres">
      <dgm:prSet presAssocID="{18037F9F-FBA4-6A44-A3E9-763D691B20FF}" presName="level3hierChild" presStyleCnt="0"/>
      <dgm:spPr/>
    </dgm:pt>
    <dgm:pt modelId="{2AF85CEC-A10D-3049-9B41-55C6959BCADF}" type="pres">
      <dgm:prSet presAssocID="{B5F82ACA-CAA8-8D41-B2C5-44485C06AA6B}" presName="conn2-1" presStyleLbl="parChTrans1D3" presStyleIdx="6" presStyleCnt="11"/>
      <dgm:spPr/>
      <dgm:t>
        <a:bodyPr/>
        <a:lstStyle/>
        <a:p>
          <a:endParaRPr lang="en-US"/>
        </a:p>
      </dgm:t>
    </dgm:pt>
    <dgm:pt modelId="{FA12E88A-FDA2-E647-A63A-4F43DB300678}" type="pres">
      <dgm:prSet presAssocID="{B5F82ACA-CAA8-8D41-B2C5-44485C06AA6B}" presName="connTx" presStyleLbl="parChTrans1D3" presStyleIdx="6" presStyleCnt="11"/>
      <dgm:spPr/>
      <dgm:t>
        <a:bodyPr/>
        <a:lstStyle/>
        <a:p>
          <a:endParaRPr lang="en-US"/>
        </a:p>
      </dgm:t>
    </dgm:pt>
    <dgm:pt modelId="{B2EDB793-3999-AE42-BDEF-967CE3410269}" type="pres">
      <dgm:prSet presAssocID="{E16273B0-DC57-F94C-B46A-E99037135693}" presName="root2" presStyleCnt="0"/>
      <dgm:spPr/>
    </dgm:pt>
    <dgm:pt modelId="{8519B04C-0DC2-2E4B-9093-7A5F4DB0D3E2}" type="pres">
      <dgm:prSet presAssocID="{E16273B0-DC57-F94C-B46A-E99037135693}" presName="LevelTwoTextNode" presStyleLbl="node3" presStyleIdx="6" presStyleCnt="11" custScaleX="156336" custLinFactY="-61180" custLinFactNeighborX="95944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BB50619-D870-2447-BD48-BC41B90F11B7}" type="pres">
      <dgm:prSet presAssocID="{E16273B0-DC57-F94C-B46A-E99037135693}" presName="level3hierChild" presStyleCnt="0"/>
      <dgm:spPr/>
    </dgm:pt>
    <dgm:pt modelId="{849075DC-6D25-0449-92DE-A578DD4AE985}" type="pres">
      <dgm:prSet presAssocID="{BA1D2D4A-9060-9C42-BE97-22F30990072E}" presName="conn2-1" presStyleLbl="parChTrans1D3" presStyleIdx="7" presStyleCnt="11"/>
      <dgm:spPr/>
      <dgm:t>
        <a:bodyPr/>
        <a:lstStyle/>
        <a:p>
          <a:endParaRPr lang="en-US"/>
        </a:p>
      </dgm:t>
    </dgm:pt>
    <dgm:pt modelId="{31D90BD0-CD42-0340-A07B-937078B46E29}" type="pres">
      <dgm:prSet presAssocID="{BA1D2D4A-9060-9C42-BE97-22F30990072E}" presName="connTx" presStyleLbl="parChTrans1D3" presStyleIdx="7" presStyleCnt="11"/>
      <dgm:spPr/>
      <dgm:t>
        <a:bodyPr/>
        <a:lstStyle/>
        <a:p>
          <a:endParaRPr lang="en-US"/>
        </a:p>
      </dgm:t>
    </dgm:pt>
    <dgm:pt modelId="{C7AA418A-34DC-3B48-A8B5-918AFD8F9AFA}" type="pres">
      <dgm:prSet presAssocID="{5D642654-8B97-2D49-8A58-DE82FD170919}" presName="root2" presStyleCnt="0"/>
      <dgm:spPr/>
    </dgm:pt>
    <dgm:pt modelId="{539A6E7A-11A8-D143-8D0C-80B0FC9F2F27}" type="pres">
      <dgm:prSet presAssocID="{5D642654-8B97-2D49-8A58-DE82FD170919}" presName="LevelTwoTextNode" presStyleLbl="node3" presStyleIdx="7" presStyleCnt="11" custScaleX="156336" custLinFactY="-51884" custLinFactNeighborX="94725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A49C1C1-4245-AA47-BA35-77A4E0201A77}" type="pres">
      <dgm:prSet presAssocID="{5D642654-8B97-2D49-8A58-DE82FD170919}" presName="level3hierChild" presStyleCnt="0"/>
      <dgm:spPr/>
    </dgm:pt>
    <dgm:pt modelId="{F16AB732-5183-2D43-89D5-A4F6E7A16C67}" type="pres">
      <dgm:prSet presAssocID="{7A4356E9-5071-964B-86F0-BDE4F31289EA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A5B7C3D0-4311-1542-9BDE-0D0035C79F44}" type="pres">
      <dgm:prSet presAssocID="{7A4356E9-5071-964B-86F0-BDE4F31289EA}" presName="connTx" presStyleLbl="parChTrans1D2" presStyleIdx="2" presStyleCnt="3"/>
      <dgm:spPr/>
      <dgm:t>
        <a:bodyPr/>
        <a:lstStyle/>
        <a:p>
          <a:endParaRPr lang="en-US"/>
        </a:p>
      </dgm:t>
    </dgm:pt>
    <dgm:pt modelId="{80EF8A8C-270F-AC44-AF6F-9E1A830A07E6}" type="pres">
      <dgm:prSet presAssocID="{9576AE82-9C0A-D74D-A3A2-DDE77B48C386}" presName="root2" presStyleCnt="0"/>
      <dgm:spPr/>
    </dgm:pt>
    <dgm:pt modelId="{66DB773E-FEBC-5E44-A786-C986B5CCEDBB}" type="pres">
      <dgm:prSet presAssocID="{9576AE82-9C0A-D74D-A3A2-DDE77B48C386}" presName="LevelTwoTextNode" presStyleLbl="node2" presStyleIdx="2" presStyleCnt="3" custLinFactX="-59837" custLinFactY="-100000" custLinFactNeighborX="-100000" custLinFactNeighborY="-13133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B8EF997-5998-9842-846B-D93B30F01E33}" type="pres">
      <dgm:prSet presAssocID="{9576AE82-9C0A-D74D-A3A2-DDE77B48C386}" presName="level3hierChild" presStyleCnt="0"/>
      <dgm:spPr/>
    </dgm:pt>
    <dgm:pt modelId="{C95008DA-A3F1-A34A-977D-052A62246362}" type="pres">
      <dgm:prSet presAssocID="{1AD756B8-B568-3F40-9C1D-F52720A22F55}" presName="conn2-1" presStyleLbl="parChTrans1D3" presStyleIdx="8" presStyleCnt="11"/>
      <dgm:spPr/>
      <dgm:t>
        <a:bodyPr/>
        <a:lstStyle/>
        <a:p>
          <a:endParaRPr lang="en-US"/>
        </a:p>
      </dgm:t>
    </dgm:pt>
    <dgm:pt modelId="{E5FD8402-BD5E-0443-BA1E-BBA85A4BDD97}" type="pres">
      <dgm:prSet presAssocID="{1AD756B8-B568-3F40-9C1D-F52720A22F55}" presName="connTx" presStyleLbl="parChTrans1D3" presStyleIdx="8" presStyleCnt="11"/>
      <dgm:spPr/>
      <dgm:t>
        <a:bodyPr/>
        <a:lstStyle/>
        <a:p>
          <a:endParaRPr lang="en-US"/>
        </a:p>
      </dgm:t>
    </dgm:pt>
    <dgm:pt modelId="{18D20263-4D72-E541-A4F9-A6144E5B595C}" type="pres">
      <dgm:prSet presAssocID="{1E4805AD-2F1A-B54C-BECE-F2F38ACEA695}" presName="root2" presStyleCnt="0"/>
      <dgm:spPr/>
    </dgm:pt>
    <dgm:pt modelId="{C1E6BD7C-D109-6B4A-B159-16E330F8D35F}" type="pres">
      <dgm:prSet presAssocID="{1E4805AD-2F1A-B54C-BECE-F2F38ACEA695}" presName="LevelTwoTextNode" presStyleLbl="node3" presStyleIdx="8" presStyleCnt="11" custScaleX="134002" custLinFactX="-48486" custLinFactY="-100000" custLinFactNeighborX="-100000" custLinFactNeighborY="-13544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D313D2B-4D3A-4943-9A75-C114014B4F58}" type="pres">
      <dgm:prSet presAssocID="{1E4805AD-2F1A-B54C-BECE-F2F38ACEA695}" presName="level3hierChild" presStyleCnt="0"/>
      <dgm:spPr/>
    </dgm:pt>
    <dgm:pt modelId="{8CC54DB4-BE1D-204C-9376-49516AC52F21}" type="pres">
      <dgm:prSet presAssocID="{4463F0D5-B9CD-CD4C-AEC0-B31B8C62ACF2}" presName="conn2-1" presStyleLbl="parChTrans1D3" presStyleIdx="9" presStyleCnt="11"/>
      <dgm:spPr/>
      <dgm:t>
        <a:bodyPr/>
        <a:lstStyle/>
        <a:p>
          <a:endParaRPr lang="en-US"/>
        </a:p>
      </dgm:t>
    </dgm:pt>
    <dgm:pt modelId="{BDE28695-2872-C945-8C6E-C9A140C06EEA}" type="pres">
      <dgm:prSet presAssocID="{4463F0D5-B9CD-CD4C-AEC0-B31B8C62ACF2}" presName="connTx" presStyleLbl="parChTrans1D3" presStyleIdx="9" presStyleCnt="11"/>
      <dgm:spPr/>
      <dgm:t>
        <a:bodyPr/>
        <a:lstStyle/>
        <a:p>
          <a:endParaRPr lang="en-US"/>
        </a:p>
      </dgm:t>
    </dgm:pt>
    <dgm:pt modelId="{89880929-C913-8244-A071-3D82C49F94E5}" type="pres">
      <dgm:prSet presAssocID="{BB72F6BA-A929-A34D-973A-5670DE9D8143}" presName="root2" presStyleCnt="0"/>
      <dgm:spPr/>
    </dgm:pt>
    <dgm:pt modelId="{E340E93F-A963-2F4F-9B5E-C9F2008D773A}" type="pres">
      <dgm:prSet presAssocID="{BB72F6BA-A929-A34D-973A-5670DE9D8143}" presName="LevelTwoTextNode" presStyleLbl="node3" presStyleIdx="9" presStyleCnt="11" custScaleX="134002" custLinFactX="-48486" custLinFactY="-100000" custLinFactNeighborX="-100000" custLinFactNeighborY="-13133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D5507A1-2355-F24D-9C46-B13FEB556073}" type="pres">
      <dgm:prSet presAssocID="{BB72F6BA-A929-A34D-973A-5670DE9D8143}" presName="level3hierChild" presStyleCnt="0"/>
      <dgm:spPr/>
    </dgm:pt>
    <dgm:pt modelId="{69E061E6-033E-D740-BFFC-2963DB7DA688}" type="pres">
      <dgm:prSet presAssocID="{D98E03CA-4D93-1646-9324-0880FEDCC939}" presName="conn2-1" presStyleLbl="parChTrans1D3" presStyleIdx="10" presStyleCnt="11"/>
      <dgm:spPr/>
      <dgm:t>
        <a:bodyPr/>
        <a:lstStyle/>
        <a:p>
          <a:endParaRPr lang="en-US"/>
        </a:p>
      </dgm:t>
    </dgm:pt>
    <dgm:pt modelId="{0A0BEAF7-F444-B04E-A237-1E614B183C19}" type="pres">
      <dgm:prSet presAssocID="{D98E03CA-4D93-1646-9324-0880FEDCC939}" presName="connTx" presStyleLbl="parChTrans1D3" presStyleIdx="10" presStyleCnt="11"/>
      <dgm:spPr/>
      <dgm:t>
        <a:bodyPr/>
        <a:lstStyle/>
        <a:p>
          <a:endParaRPr lang="en-US"/>
        </a:p>
      </dgm:t>
    </dgm:pt>
    <dgm:pt modelId="{109B0C8F-BE6D-BB4D-B287-BAFE04509858}" type="pres">
      <dgm:prSet presAssocID="{E630A538-E4B2-AC42-830C-8845F6AB01E2}" presName="root2" presStyleCnt="0"/>
      <dgm:spPr/>
    </dgm:pt>
    <dgm:pt modelId="{EFF33456-DBC7-5949-B84A-3389FAFF9DEF}" type="pres">
      <dgm:prSet presAssocID="{E630A538-E4B2-AC42-830C-8845F6AB01E2}" presName="LevelTwoTextNode" presStyleLbl="node3" presStyleIdx="10" presStyleCnt="11" custScaleX="134002" custLinFactX="-50185" custLinFactY="-100000" custLinFactNeighborX="-100000" custLinFactNeighborY="-13312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DA9D0ED-6E90-574A-98BF-F8317F79FE86}" type="pres">
      <dgm:prSet presAssocID="{E630A538-E4B2-AC42-830C-8845F6AB01E2}" presName="level3hierChild" presStyleCnt="0"/>
      <dgm:spPr/>
    </dgm:pt>
  </dgm:ptLst>
  <dgm:cxnLst>
    <dgm:cxn modelId="{AEEB64F2-2CBC-DB49-92F9-76A1B0718597}" type="presOf" srcId="{357FC2DD-C84F-A644-8DB4-E4CA10B3ED57}" destId="{EF770FBE-2A83-3E47-BF04-CF96DB11D443}" srcOrd="0" destOrd="0" presId="urn:microsoft.com/office/officeart/2005/8/layout/hierarchy2"/>
    <dgm:cxn modelId="{65CB1D01-CD53-644F-AFC9-A97F02033986}" srcId="{56A80DEA-1955-F44A-ABCD-DD80431AB936}" destId="{78F0BEF0-3D27-AA42-9657-2610AA339463}" srcOrd="0" destOrd="0" parTransId="{87F5DA02-B907-0241-B954-E5D6881EED56}" sibTransId="{A791E927-711E-F042-A584-DF4A290FD2DD}"/>
    <dgm:cxn modelId="{94097291-40DE-6A48-971D-BE917E6188ED}" srcId="{78F0BEF0-3D27-AA42-9657-2610AA339463}" destId="{810FB50B-08D6-7047-9375-7C7A6EADCD37}" srcOrd="1" destOrd="0" parTransId="{769073FD-BD44-CB49-9125-16B23A68D2BA}" sibTransId="{7456C4D0-0A7E-E145-A3D3-A4D564E3FB37}"/>
    <dgm:cxn modelId="{3F8E045D-338B-8E40-994A-FC564EA51F90}" srcId="{6B57DDE5-4902-7B47-97F6-CEA261894971}" destId="{C7852320-9546-9F4A-9D8B-66D94BB1E07F}" srcOrd="0" destOrd="0" parTransId="{064AED13-4958-ED40-8726-8D478F8682CE}" sibTransId="{BC9A0512-CD62-5B48-8579-738EF4E81F58}"/>
    <dgm:cxn modelId="{6E34576E-CF9D-D64F-9AC4-DE9D747091A5}" type="presOf" srcId="{7A4356E9-5071-964B-86F0-BDE4F31289EA}" destId="{A5B7C3D0-4311-1542-9BDE-0D0035C79F44}" srcOrd="1" destOrd="0" presId="urn:microsoft.com/office/officeart/2005/8/layout/hierarchy2"/>
    <dgm:cxn modelId="{3A7CE3F5-33BA-924E-81FC-BE421E46C151}" type="presOf" srcId="{1B376ECE-DC4E-1743-932F-26F598407A2B}" destId="{2F84AD96-ED24-AB44-9E01-B34C906B8478}" srcOrd="0" destOrd="0" presId="urn:microsoft.com/office/officeart/2005/8/layout/hierarchy2"/>
    <dgm:cxn modelId="{1C9A896F-38E4-5A45-BB79-8C90891F09A0}" type="presOf" srcId="{56A80DEA-1955-F44A-ABCD-DD80431AB936}" destId="{39473E67-F1D8-3A47-835F-35F126EA4EB4}" srcOrd="0" destOrd="0" presId="urn:microsoft.com/office/officeart/2005/8/layout/hierarchy2"/>
    <dgm:cxn modelId="{CDA5D122-0158-EF48-892F-57F1844CCD4D}" srcId="{9576AE82-9C0A-D74D-A3A2-DDE77B48C386}" destId="{1E4805AD-2F1A-B54C-BECE-F2F38ACEA695}" srcOrd="0" destOrd="0" parTransId="{1AD756B8-B568-3F40-9C1D-F52720A22F55}" sibTransId="{4F3922EB-E86A-8645-9C82-42808B8E9283}"/>
    <dgm:cxn modelId="{310E9FA4-1AA3-8A4B-BB07-FA3E377FC025}" srcId="{9576AE82-9C0A-D74D-A3A2-DDE77B48C386}" destId="{E630A538-E4B2-AC42-830C-8845F6AB01E2}" srcOrd="2" destOrd="0" parTransId="{D98E03CA-4D93-1646-9324-0880FEDCC939}" sibTransId="{037A53D7-D0CA-AF49-8E89-044E01654389}"/>
    <dgm:cxn modelId="{88522651-AC79-8F4D-BF28-4E94E4D5AE00}" type="presOf" srcId="{1AD756B8-B568-3F40-9C1D-F52720A22F55}" destId="{E5FD8402-BD5E-0443-BA1E-BBA85A4BDD97}" srcOrd="1" destOrd="0" presId="urn:microsoft.com/office/officeart/2005/8/layout/hierarchy2"/>
    <dgm:cxn modelId="{87C1DF15-AE12-2B4C-954E-699AA5255A5A}" type="presOf" srcId="{4463F0D5-B9CD-CD4C-AEC0-B31B8C62ACF2}" destId="{8CC54DB4-BE1D-204C-9376-49516AC52F21}" srcOrd="0" destOrd="0" presId="urn:microsoft.com/office/officeart/2005/8/layout/hierarchy2"/>
    <dgm:cxn modelId="{D1B59472-0634-5E4F-BED2-867D0DDF4D0F}" srcId="{78F0BEF0-3D27-AA42-9657-2610AA339463}" destId="{6B57DDE5-4902-7B47-97F6-CEA261894971}" srcOrd="0" destOrd="0" parTransId="{12C827E6-8B0F-AC47-8914-349A22E4BAB0}" sibTransId="{29AECAFA-D002-A241-99BE-5FA4AEED7DAA}"/>
    <dgm:cxn modelId="{12ECE6CE-D31F-6148-80D0-F4008C7126C6}" type="presOf" srcId="{7AA73FD6-DBE0-9147-A481-2E1BAC5503DA}" destId="{43606FDE-9B7A-6F45-8907-529B7CB79ED4}" srcOrd="1" destOrd="0" presId="urn:microsoft.com/office/officeart/2005/8/layout/hierarchy2"/>
    <dgm:cxn modelId="{4893B900-49FD-9E41-B269-63CCD732F375}" type="presOf" srcId="{769073FD-BD44-CB49-9125-16B23A68D2BA}" destId="{60315064-1D90-C64A-BB3E-9B2DE060ADBF}" srcOrd="0" destOrd="0" presId="urn:microsoft.com/office/officeart/2005/8/layout/hierarchy2"/>
    <dgm:cxn modelId="{D69DE6C0-C191-7247-9B1C-7EFAF8922BE7}" type="presOf" srcId="{B5F82ACA-CAA8-8D41-B2C5-44485C06AA6B}" destId="{FA12E88A-FDA2-E647-A63A-4F43DB300678}" srcOrd="1" destOrd="0" presId="urn:microsoft.com/office/officeart/2005/8/layout/hierarchy2"/>
    <dgm:cxn modelId="{145A1AB7-3495-4E42-98C3-D1A6AA801B40}" type="presOf" srcId="{1E4805AD-2F1A-B54C-BECE-F2F38ACEA695}" destId="{C1E6BD7C-D109-6B4A-B159-16E330F8D35F}" srcOrd="0" destOrd="0" presId="urn:microsoft.com/office/officeart/2005/8/layout/hierarchy2"/>
    <dgm:cxn modelId="{62450743-D0E7-C349-8C99-A668598EF0A5}" type="presOf" srcId="{7A4356E9-5071-964B-86F0-BDE4F31289EA}" destId="{F16AB732-5183-2D43-89D5-A4F6E7A16C67}" srcOrd="0" destOrd="0" presId="urn:microsoft.com/office/officeart/2005/8/layout/hierarchy2"/>
    <dgm:cxn modelId="{85844605-ECBB-3E44-9385-B0ABDAA5514E}" type="presOf" srcId="{425870AC-E9A4-844D-970E-169807CD3CA9}" destId="{FF11A265-5B5C-9B4A-875A-04D52A8B2F75}" srcOrd="0" destOrd="0" presId="urn:microsoft.com/office/officeart/2005/8/layout/hierarchy2"/>
    <dgm:cxn modelId="{64390BE9-9E5C-8C4C-9C8F-912FB8ADD721}" type="presOf" srcId="{BA1D2D4A-9060-9C42-BE97-22F30990072E}" destId="{31D90BD0-CD42-0340-A07B-937078B46E29}" srcOrd="1" destOrd="0" presId="urn:microsoft.com/office/officeart/2005/8/layout/hierarchy2"/>
    <dgm:cxn modelId="{01BFEE27-D1C7-A840-9C4E-C28A25D478F3}" type="presOf" srcId="{12C827E6-8B0F-AC47-8914-349A22E4BAB0}" destId="{0993DCB1-7878-3243-8D49-E078F38CC5CF}" srcOrd="0" destOrd="0" presId="urn:microsoft.com/office/officeart/2005/8/layout/hierarchy2"/>
    <dgm:cxn modelId="{AB8C0AF4-0A12-9540-9AAA-1529C59E8698}" type="presOf" srcId="{59E5EE86-7CF5-7749-9996-60033D07CA55}" destId="{BBA3A21B-AA75-C047-A29B-24E7CC694176}" srcOrd="0" destOrd="0" presId="urn:microsoft.com/office/officeart/2005/8/layout/hierarchy2"/>
    <dgm:cxn modelId="{12D3F955-6E22-E348-95E0-8FD96DA9C855}" type="presOf" srcId="{1BD7CA5D-8B9C-6A4E-8216-2F9C7356C514}" destId="{0D72F578-01E5-284E-A0AB-BE2C3572DBA3}" srcOrd="0" destOrd="0" presId="urn:microsoft.com/office/officeart/2005/8/layout/hierarchy2"/>
    <dgm:cxn modelId="{BD229034-622B-3C47-9C5D-09255124E41B}" type="presOf" srcId="{64194136-30AC-1745-83D6-EA2428D3CF00}" destId="{453E485C-5B58-7048-B81B-6E2050F05617}" srcOrd="1" destOrd="0" presId="urn:microsoft.com/office/officeart/2005/8/layout/hierarchy2"/>
    <dgm:cxn modelId="{2170BD6A-51C1-E44D-B86C-1A95DCF07DC3}" srcId="{810FB50B-08D6-7047-9375-7C7A6EADCD37}" destId="{59E5EE86-7CF5-7749-9996-60033D07CA55}" srcOrd="1" destOrd="0" parTransId="{64194136-30AC-1745-83D6-EA2428D3CF00}" sibTransId="{90F98CE0-1E87-9C4B-9383-CA9508BCD2BF}"/>
    <dgm:cxn modelId="{DE453A0A-CEBC-A342-9FA3-84D40D315811}" type="presOf" srcId="{D98E03CA-4D93-1646-9324-0880FEDCC939}" destId="{0A0BEAF7-F444-B04E-A237-1E614B183C19}" srcOrd="1" destOrd="0" presId="urn:microsoft.com/office/officeart/2005/8/layout/hierarchy2"/>
    <dgm:cxn modelId="{880E7E99-C3B6-8344-86CA-6295B94A92C8}" type="presOf" srcId="{E16273B0-DC57-F94C-B46A-E99037135693}" destId="{8519B04C-0DC2-2E4B-9093-7A5F4DB0D3E2}" srcOrd="0" destOrd="0" presId="urn:microsoft.com/office/officeart/2005/8/layout/hierarchy2"/>
    <dgm:cxn modelId="{EEC25C22-56BE-FA4A-AE4F-175FA93CAB9B}" type="presOf" srcId="{4463F0D5-B9CD-CD4C-AEC0-B31B8C62ACF2}" destId="{BDE28695-2872-C945-8C6E-C9A140C06EEA}" srcOrd="1" destOrd="0" presId="urn:microsoft.com/office/officeart/2005/8/layout/hierarchy2"/>
    <dgm:cxn modelId="{4571F85B-B2A4-5F45-BA79-FE8897599B6F}" type="presOf" srcId="{064AED13-4958-ED40-8726-8D478F8682CE}" destId="{409F8A47-6D5F-1D4E-9E25-A23F1D7988EF}" srcOrd="1" destOrd="0" presId="urn:microsoft.com/office/officeart/2005/8/layout/hierarchy2"/>
    <dgm:cxn modelId="{38162BFB-57BA-A042-966E-27B08E36B95E}" srcId="{9576AE82-9C0A-D74D-A3A2-DDE77B48C386}" destId="{BB72F6BA-A929-A34D-973A-5670DE9D8143}" srcOrd="1" destOrd="0" parTransId="{4463F0D5-B9CD-CD4C-AEC0-B31B8C62ACF2}" sibTransId="{A7C81BD5-0BF3-F746-9D7E-FC07049BB0C6}"/>
    <dgm:cxn modelId="{8A8738C7-7BB9-EF45-9595-0561E22974D4}" type="presOf" srcId="{C7852320-9546-9F4A-9D8B-66D94BB1E07F}" destId="{6BCCEF5E-7229-1244-9DE2-AAB2A20729A3}" srcOrd="0" destOrd="0" presId="urn:microsoft.com/office/officeart/2005/8/layout/hierarchy2"/>
    <dgm:cxn modelId="{604A910A-BD56-DA4A-920F-99031D0F6312}" type="presOf" srcId="{1B868441-ED3C-C947-BB87-7B69D2C29121}" destId="{F6F49D34-7343-F64A-B4FD-701963DD5C72}" srcOrd="0" destOrd="0" presId="urn:microsoft.com/office/officeart/2005/8/layout/hierarchy2"/>
    <dgm:cxn modelId="{7BEF50B2-6148-0240-8264-565CBE9B9D1A}" type="presOf" srcId="{64194136-30AC-1745-83D6-EA2428D3CF00}" destId="{6777A401-1ED0-8148-A3BD-2BB5AC024BFC}" srcOrd="0" destOrd="0" presId="urn:microsoft.com/office/officeart/2005/8/layout/hierarchy2"/>
    <dgm:cxn modelId="{65A60E5E-2B1D-0D4E-ADD8-CA2122AEEC71}" srcId="{810FB50B-08D6-7047-9375-7C7A6EADCD37}" destId="{1BD7CA5D-8B9C-6A4E-8216-2F9C7356C514}" srcOrd="0" destOrd="0" parTransId="{78B979A8-EE57-0440-A650-8AD31C68B525}" sibTransId="{54ED263F-901C-0B49-8D11-19C1FDE4D7B4}"/>
    <dgm:cxn modelId="{0EB97F2F-01F1-2E45-9EE4-9264090E797D}" type="presOf" srcId="{78B979A8-EE57-0440-A650-8AD31C68B525}" destId="{A234FA20-E8A7-5841-A3A8-D41618BA5199}" srcOrd="0" destOrd="0" presId="urn:microsoft.com/office/officeart/2005/8/layout/hierarchy2"/>
    <dgm:cxn modelId="{DA480184-CA47-7642-973D-75DFD35A2FF7}" type="presOf" srcId="{7AA73FD6-DBE0-9147-A481-2E1BAC5503DA}" destId="{438046C7-AFBC-5F4D-9A8E-EFE455B90867}" srcOrd="0" destOrd="0" presId="urn:microsoft.com/office/officeart/2005/8/layout/hierarchy2"/>
    <dgm:cxn modelId="{C78C148D-4ACB-F04B-A1C6-834D16B76142}" type="presOf" srcId="{12C827E6-8B0F-AC47-8914-349A22E4BAB0}" destId="{7CAE1739-E84C-EC4E-A0C8-7AA8C89EAAAB}" srcOrd="1" destOrd="0" presId="urn:microsoft.com/office/officeart/2005/8/layout/hierarchy2"/>
    <dgm:cxn modelId="{DA55E9BA-2EE0-0743-A1E0-E5B2ECA75A5A}" type="presOf" srcId="{357FC2DD-C84F-A644-8DB4-E4CA10B3ED57}" destId="{7A00B5E3-F98B-5241-9F8A-75F88FEA0124}" srcOrd="1" destOrd="0" presId="urn:microsoft.com/office/officeart/2005/8/layout/hierarchy2"/>
    <dgm:cxn modelId="{C17C19DD-4155-A34A-B592-20679D854220}" srcId="{78F0BEF0-3D27-AA42-9657-2610AA339463}" destId="{9576AE82-9C0A-D74D-A3A2-DDE77B48C386}" srcOrd="2" destOrd="0" parTransId="{7A4356E9-5071-964B-86F0-BDE4F31289EA}" sibTransId="{A308470C-A69F-694C-8A60-7897430A28D9}"/>
    <dgm:cxn modelId="{3A3752F6-CF9E-2749-BC09-C87C29546BEB}" type="presOf" srcId="{78B979A8-EE57-0440-A650-8AD31C68B525}" destId="{4A18F7D9-9B8E-2443-8225-257880FE1365}" srcOrd="1" destOrd="0" presId="urn:microsoft.com/office/officeart/2005/8/layout/hierarchy2"/>
    <dgm:cxn modelId="{CC671FDE-1FE3-7E47-88DB-97F0BD4A5678}" srcId="{810FB50B-08D6-7047-9375-7C7A6EADCD37}" destId="{18037F9F-FBA4-6A44-A3E9-763D691B20FF}" srcOrd="2" destOrd="0" parTransId="{425870AC-E9A4-844D-970E-169807CD3CA9}" sibTransId="{FF9DCBEB-C244-D743-945D-0302085F68A2}"/>
    <dgm:cxn modelId="{54E01B04-1D28-4D4F-9D70-A2794FEB80E2}" type="presOf" srcId="{810FB50B-08D6-7047-9375-7C7A6EADCD37}" destId="{871E8B3C-79EA-E449-B957-D5B519964EE6}" srcOrd="0" destOrd="0" presId="urn:microsoft.com/office/officeart/2005/8/layout/hierarchy2"/>
    <dgm:cxn modelId="{54F70A31-88A9-4F47-9B1C-12D14FB6E240}" type="presOf" srcId="{425870AC-E9A4-844D-970E-169807CD3CA9}" destId="{71D2B678-F3F9-BB49-B53B-B0330C925B41}" srcOrd="1" destOrd="0" presId="urn:microsoft.com/office/officeart/2005/8/layout/hierarchy2"/>
    <dgm:cxn modelId="{C489BDBC-09FF-FF47-B0B3-642848D35757}" srcId="{6B57DDE5-4902-7B47-97F6-CEA261894971}" destId="{1B376ECE-DC4E-1743-932F-26F598407A2B}" srcOrd="1" destOrd="0" parTransId="{357FC2DD-C84F-A644-8DB4-E4CA10B3ED57}" sibTransId="{6B2E4E33-23FC-2744-84B7-7B295F71808E}"/>
    <dgm:cxn modelId="{BA345CB8-19BF-D141-8E24-A30DB63520C3}" type="presOf" srcId="{9576AE82-9C0A-D74D-A3A2-DDE77B48C386}" destId="{66DB773E-FEBC-5E44-A786-C986B5CCEDBB}" srcOrd="0" destOrd="0" presId="urn:microsoft.com/office/officeart/2005/8/layout/hierarchy2"/>
    <dgm:cxn modelId="{BC9F71CC-88ED-E347-AD2D-3D11AA204A16}" type="presOf" srcId="{1AD756B8-B568-3F40-9C1D-F52720A22F55}" destId="{C95008DA-A3F1-A34A-977D-052A62246362}" srcOrd="0" destOrd="0" presId="urn:microsoft.com/office/officeart/2005/8/layout/hierarchy2"/>
    <dgm:cxn modelId="{38D0B838-1C50-F541-A35E-CD255E5C15EA}" type="presOf" srcId="{18037F9F-FBA4-6A44-A3E9-763D691B20FF}" destId="{AEAB2C15-06BC-1D42-8247-3686A3F48D9D}" srcOrd="0" destOrd="0" presId="urn:microsoft.com/office/officeart/2005/8/layout/hierarchy2"/>
    <dgm:cxn modelId="{9E3B04D8-E7FD-064C-B420-FE7AB5D12ED8}" type="presOf" srcId="{D98E03CA-4D93-1646-9324-0880FEDCC939}" destId="{69E061E6-033E-D740-BFFC-2963DB7DA688}" srcOrd="0" destOrd="0" presId="urn:microsoft.com/office/officeart/2005/8/layout/hierarchy2"/>
    <dgm:cxn modelId="{97C4D5F9-B8CD-E04E-A2C1-7F391FD01789}" srcId="{810FB50B-08D6-7047-9375-7C7A6EADCD37}" destId="{5D642654-8B97-2D49-8A58-DE82FD170919}" srcOrd="4" destOrd="0" parTransId="{BA1D2D4A-9060-9C42-BE97-22F30990072E}" sibTransId="{1EEA7020-78FE-574C-B3A1-8D5069D8751F}"/>
    <dgm:cxn modelId="{FB0CB523-59AB-BA44-8F2B-AF2382AC61CB}" type="presOf" srcId="{5D642654-8B97-2D49-8A58-DE82FD170919}" destId="{539A6E7A-11A8-D143-8D0C-80B0FC9F2F27}" srcOrd="0" destOrd="0" presId="urn:microsoft.com/office/officeart/2005/8/layout/hierarchy2"/>
    <dgm:cxn modelId="{9AE848A9-303E-854D-92F3-A02A186B797E}" type="presOf" srcId="{BA1D2D4A-9060-9C42-BE97-22F30990072E}" destId="{849075DC-6D25-0449-92DE-A578DD4AE985}" srcOrd="0" destOrd="0" presId="urn:microsoft.com/office/officeart/2005/8/layout/hierarchy2"/>
    <dgm:cxn modelId="{46462AFA-0783-B149-83CE-DB7A9826577A}" type="presOf" srcId="{B5F82ACA-CAA8-8D41-B2C5-44485C06AA6B}" destId="{2AF85CEC-A10D-3049-9B41-55C6959BCADF}" srcOrd="0" destOrd="0" presId="urn:microsoft.com/office/officeart/2005/8/layout/hierarchy2"/>
    <dgm:cxn modelId="{C356C7A0-D49A-3245-8EAF-F2F0AD9EFB5E}" srcId="{810FB50B-08D6-7047-9375-7C7A6EADCD37}" destId="{E16273B0-DC57-F94C-B46A-E99037135693}" srcOrd="3" destOrd="0" parTransId="{B5F82ACA-CAA8-8D41-B2C5-44485C06AA6B}" sibTransId="{2D51675D-90FB-1B4C-9E71-7BA2226F37F0}"/>
    <dgm:cxn modelId="{66B7AC2E-509E-5340-A2B9-281033309D35}" srcId="{6B57DDE5-4902-7B47-97F6-CEA261894971}" destId="{1B868441-ED3C-C947-BB87-7B69D2C29121}" srcOrd="2" destOrd="0" parTransId="{7AA73FD6-DBE0-9147-A481-2E1BAC5503DA}" sibTransId="{DACD568B-09B3-9842-8840-2A5FF264323E}"/>
    <dgm:cxn modelId="{1BDC3D5A-8A4D-BB4F-84CC-B86098CC80B4}" type="presOf" srcId="{BB72F6BA-A929-A34D-973A-5670DE9D8143}" destId="{E340E93F-A963-2F4F-9B5E-C9F2008D773A}" srcOrd="0" destOrd="0" presId="urn:microsoft.com/office/officeart/2005/8/layout/hierarchy2"/>
    <dgm:cxn modelId="{9D1015A5-C6FB-7A40-8C6D-9CA9351B887C}" type="presOf" srcId="{769073FD-BD44-CB49-9125-16B23A68D2BA}" destId="{D0514FA9-C60E-F44F-ABCA-72AE138EED24}" srcOrd="1" destOrd="0" presId="urn:microsoft.com/office/officeart/2005/8/layout/hierarchy2"/>
    <dgm:cxn modelId="{456984FA-E0A1-FA4A-BB30-13DDDBF81D2D}" type="presOf" srcId="{E630A538-E4B2-AC42-830C-8845F6AB01E2}" destId="{EFF33456-DBC7-5949-B84A-3389FAFF9DEF}" srcOrd="0" destOrd="0" presId="urn:microsoft.com/office/officeart/2005/8/layout/hierarchy2"/>
    <dgm:cxn modelId="{B539DFDD-FBA7-3A4E-8E92-B3098B950B7F}" type="presOf" srcId="{064AED13-4958-ED40-8726-8D478F8682CE}" destId="{46944D52-577E-9949-91A2-AEFAF51D12BA}" srcOrd="0" destOrd="0" presId="urn:microsoft.com/office/officeart/2005/8/layout/hierarchy2"/>
    <dgm:cxn modelId="{C6974609-A017-C446-9717-E3E8F3F575D5}" type="presOf" srcId="{6B57DDE5-4902-7B47-97F6-CEA261894971}" destId="{34FA3386-1288-7C4C-9DD8-611039E6E056}" srcOrd="0" destOrd="0" presId="urn:microsoft.com/office/officeart/2005/8/layout/hierarchy2"/>
    <dgm:cxn modelId="{C9613BCF-F4C5-194A-B021-C1F970CB6052}" type="presOf" srcId="{78F0BEF0-3D27-AA42-9657-2610AA339463}" destId="{88A293C5-BEA6-6942-99E9-DBCAF253E5B2}" srcOrd="0" destOrd="0" presId="urn:microsoft.com/office/officeart/2005/8/layout/hierarchy2"/>
    <dgm:cxn modelId="{7F0B0D13-57D8-2043-8E5D-21CE6483FE29}" type="presParOf" srcId="{39473E67-F1D8-3A47-835F-35F126EA4EB4}" destId="{AA7C657C-9D1E-2344-B684-48BC007AF85A}" srcOrd="0" destOrd="0" presId="urn:microsoft.com/office/officeart/2005/8/layout/hierarchy2"/>
    <dgm:cxn modelId="{64E80493-136B-1341-AC88-FC0BB521B233}" type="presParOf" srcId="{AA7C657C-9D1E-2344-B684-48BC007AF85A}" destId="{88A293C5-BEA6-6942-99E9-DBCAF253E5B2}" srcOrd="0" destOrd="0" presId="urn:microsoft.com/office/officeart/2005/8/layout/hierarchy2"/>
    <dgm:cxn modelId="{1D009ECA-84DF-8840-8802-92F9B98E7702}" type="presParOf" srcId="{AA7C657C-9D1E-2344-B684-48BC007AF85A}" destId="{9214A0A5-5635-984C-B729-380CCFF791A3}" srcOrd="1" destOrd="0" presId="urn:microsoft.com/office/officeart/2005/8/layout/hierarchy2"/>
    <dgm:cxn modelId="{E2218C61-4580-7B4D-8C5E-BC53313ACDDF}" type="presParOf" srcId="{9214A0A5-5635-984C-B729-380CCFF791A3}" destId="{0993DCB1-7878-3243-8D49-E078F38CC5CF}" srcOrd="0" destOrd="0" presId="urn:microsoft.com/office/officeart/2005/8/layout/hierarchy2"/>
    <dgm:cxn modelId="{3BF146D2-FEBB-C640-9E28-0E0E6428D49E}" type="presParOf" srcId="{0993DCB1-7878-3243-8D49-E078F38CC5CF}" destId="{7CAE1739-E84C-EC4E-A0C8-7AA8C89EAAAB}" srcOrd="0" destOrd="0" presId="urn:microsoft.com/office/officeart/2005/8/layout/hierarchy2"/>
    <dgm:cxn modelId="{8536821F-F3F4-0245-ADD9-25A6F5FDAB9B}" type="presParOf" srcId="{9214A0A5-5635-984C-B729-380CCFF791A3}" destId="{CF98F2C4-D708-FC4E-9B4E-680CA205CD03}" srcOrd="1" destOrd="0" presId="urn:microsoft.com/office/officeart/2005/8/layout/hierarchy2"/>
    <dgm:cxn modelId="{11471EE5-5E68-3C45-ABAA-D83087FA016C}" type="presParOf" srcId="{CF98F2C4-D708-FC4E-9B4E-680CA205CD03}" destId="{34FA3386-1288-7C4C-9DD8-611039E6E056}" srcOrd="0" destOrd="0" presId="urn:microsoft.com/office/officeart/2005/8/layout/hierarchy2"/>
    <dgm:cxn modelId="{F8E05D8A-606D-344D-957C-4941890B21B1}" type="presParOf" srcId="{CF98F2C4-D708-FC4E-9B4E-680CA205CD03}" destId="{D132AB80-2789-5644-A907-3D73852FEDBF}" srcOrd="1" destOrd="0" presId="urn:microsoft.com/office/officeart/2005/8/layout/hierarchy2"/>
    <dgm:cxn modelId="{A41EA256-8D57-2441-85E3-FF17EEE5C2C7}" type="presParOf" srcId="{D132AB80-2789-5644-A907-3D73852FEDBF}" destId="{46944D52-577E-9949-91A2-AEFAF51D12BA}" srcOrd="0" destOrd="0" presId="urn:microsoft.com/office/officeart/2005/8/layout/hierarchy2"/>
    <dgm:cxn modelId="{29C8F578-E9F9-3646-8D5C-E733A6B957D2}" type="presParOf" srcId="{46944D52-577E-9949-91A2-AEFAF51D12BA}" destId="{409F8A47-6D5F-1D4E-9E25-A23F1D7988EF}" srcOrd="0" destOrd="0" presId="urn:microsoft.com/office/officeart/2005/8/layout/hierarchy2"/>
    <dgm:cxn modelId="{6D68830E-29C4-8846-8C65-737CCB4CC603}" type="presParOf" srcId="{D132AB80-2789-5644-A907-3D73852FEDBF}" destId="{6C30E5DC-2E3C-8446-B918-B03E26FC1360}" srcOrd="1" destOrd="0" presId="urn:microsoft.com/office/officeart/2005/8/layout/hierarchy2"/>
    <dgm:cxn modelId="{B2670AF2-4BA1-664A-8B71-20A353E1EDCA}" type="presParOf" srcId="{6C30E5DC-2E3C-8446-B918-B03E26FC1360}" destId="{6BCCEF5E-7229-1244-9DE2-AAB2A20729A3}" srcOrd="0" destOrd="0" presId="urn:microsoft.com/office/officeart/2005/8/layout/hierarchy2"/>
    <dgm:cxn modelId="{345EBE11-88C6-BC4F-99B8-223173170B16}" type="presParOf" srcId="{6C30E5DC-2E3C-8446-B918-B03E26FC1360}" destId="{904A8E04-9FB7-FC45-BC6B-B42A2F359373}" srcOrd="1" destOrd="0" presId="urn:microsoft.com/office/officeart/2005/8/layout/hierarchy2"/>
    <dgm:cxn modelId="{546C64FD-3C6A-4045-BE30-8BA7A4820768}" type="presParOf" srcId="{D132AB80-2789-5644-A907-3D73852FEDBF}" destId="{EF770FBE-2A83-3E47-BF04-CF96DB11D443}" srcOrd="2" destOrd="0" presId="urn:microsoft.com/office/officeart/2005/8/layout/hierarchy2"/>
    <dgm:cxn modelId="{3C5ED64F-E0D4-F744-A898-1C1F8CC7B966}" type="presParOf" srcId="{EF770FBE-2A83-3E47-BF04-CF96DB11D443}" destId="{7A00B5E3-F98B-5241-9F8A-75F88FEA0124}" srcOrd="0" destOrd="0" presId="urn:microsoft.com/office/officeart/2005/8/layout/hierarchy2"/>
    <dgm:cxn modelId="{06083487-971D-9F40-A2CE-5C76C99DF35F}" type="presParOf" srcId="{D132AB80-2789-5644-A907-3D73852FEDBF}" destId="{B1939C78-F10F-5145-A76F-A3489C5FB5B1}" srcOrd="3" destOrd="0" presId="urn:microsoft.com/office/officeart/2005/8/layout/hierarchy2"/>
    <dgm:cxn modelId="{82AEC3A1-3D27-2C42-B567-F8B07FBAE0A3}" type="presParOf" srcId="{B1939C78-F10F-5145-A76F-A3489C5FB5B1}" destId="{2F84AD96-ED24-AB44-9E01-B34C906B8478}" srcOrd="0" destOrd="0" presId="urn:microsoft.com/office/officeart/2005/8/layout/hierarchy2"/>
    <dgm:cxn modelId="{4D8A8B50-C135-0B46-93FD-E4FCA869A530}" type="presParOf" srcId="{B1939C78-F10F-5145-A76F-A3489C5FB5B1}" destId="{EB1A83AC-42E5-024E-8A18-6333B0BB45F3}" srcOrd="1" destOrd="0" presId="urn:microsoft.com/office/officeart/2005/8/layout/hierarchy2"/>
    <dgm:cxn modelId="{C4957608-14A4-4542-9A73-EBAAAD8F89FD}" type="presParOf" srcId="{D132AB80-2789-5644-A907-3D73852FEDBF}" destId="{438046C7-AFBC-5F4D-9A8E-EFE455B90867}" srcOrd="4" destOrd="0" presId="urn:microsoft.com/office/officeart/2005/8/layout/hierarchy2"/>
    <dgm:cxn modelId="{52180EB2-A6C4-2341-A2D1-6352849AFB96}" type="presParOf" srcId="{438046C7-AFBC-5F4D-9A8E-EFE455B90867}" destId="{43606FDE-9B7A-6F45-8907-529B7CB79ED4}" srcOrd="0" destOrd="0" presId="urn:microsoft.com/office/officeart/2005/8/layout/hierarchy2"/>
    <dgm:cxn modelId="{ECDD1EE0-EFD7-7B4A-8AEE-10ED4412E8FC}" type="presParOf" srcId="{D132AB80-2789-5644-A907-3D73852FEDBF}" destId="{60E28F82-E19C-4148-A1C6-C8585AB0371E}" srcOrd="5" destOrd="0" presId="urn:microsoft.com/office/officeart/2005/8/layout/hierarchy2"/>
    <dgm:cxn modelId="{0844452E-79D9-F542-93A4-D97F680F97DA}" type="presParOf" srcId="{60E28F82-E19C-4148-A1C6-C8585AB0371E}" destId="{F6F49D34-7343-F64A-B4FD-701963DD5C72}" srcOrd="0" destOrd="0" presId="urn:microsoft.com/office/officeart/2005/8/layout/hierarchy2"/>
    <dgm:cxn modelId="{217258E9-40D1-FF43-B453-484364BF18E1}" type="presParOf" srcId="{60E28F82-E19C-4148-A1C6-C8585AB0371E}" destId="{9F691B87-ECA6-3646-A118-FDAA8539AAC0}" srcOrd="1" destOrd="0" presId="urn:microsoft.com/office/officeart/2005/8/layout/hierarchy2"/>
    <dgm:cxn modelId="{C6923D63-2D94-5849-BA54-6196FCFA4813}" type="presParOf" srcId="{9214A0A5-5635-984C-B729-380CCFF791A3}" destId="{60315064-1D90-C64A-BB3E-9B2DE060ADBF}" srcOrd="2" destOrd="0" presId="urn:microsoft.com/office/officeart/2005/8/layout/hierarchy2"/>
    <dgm:cxn modelId="{64E18D43-AEC8-5D49-A462-DEDE82644383}" type="presParOf" srcId="{60315064-1D90-C64A-BB3E-9B2DE060ADBF}" destId="{D0514FA9-C60E-F44F-ABCA-72AE138EED24}" srcOrd="0" destOrd="0" presId="urn:microsoft.com/office/officeart/2005/8/layout/hierarchy2"/>
    <dgm:cxn modelId="{797B3260-8CF4-3C4E-845B-248C7A08DBFB}" type="presParOf" srcId="{9214A0A5-5635-984C-B729-380CCFF791A3}" destId="{8DE8EE3F-F255-2440-9087-A761B67FE8BA}" srcOrd="3" destOrd="0" presId="urn:microsoft.com/office/officeart/2005/8/layout/hierarchy2"/>
    <dgm:cxn modelId="{D92C1F9D-466A-7E4C-8F52-A1525DDB0D58}" type="presParOf" srcId="{8DE8EE3F-F255-2440-9087-A761B67FE8BA}" destId="{871E8B3C-79EA-E449-B957-D5B519964EE6}" srcOrd="0" destOrd="0" presId="urn:microsoft.com/office/officeart/2005/8/layout/hierarchy2"/>
    <dgm:cxn modelId="{839A971E-4561-BF43-9611-3426636F1D2A}" type="presParOf" srcId="{8DE8EE3F-F255-2440-9087-A761B67FE8BA}" destId="{723888B8-B057-F44A-AEC4-F0AD5F05714E}" srcOrd="1" destOrd="0" presId="urn:microsoft.com/office/officeart/2005/8/layout/hierarchy2"/>
    <dgm:cxn modelId="{66BE9EF6-87A0-9641-84E6-EBEC1D4371D2}" type="presParOf" srcId="{723888B8-B057-F44A-AEC4-F0AD5F05714E}" destId="{A234FA20-E8A7-5841-A3A8-D41618BA5199}" srcOrd="0" destOrd="0" presId="urn:microsoft.com/office/officeart/2005/8/layout/hierarchy2"/>
    <dgm:cxn modelId="{B00648E4-2E44-3146-B5C3-BAB0A7F8375A}" type="presParOf" srcId="{A234FA20-E8A7-5841-A3A8-D41618BA5199}" destId="{4A18F7D9-9B8E-2443-8225-257880FE1365}" srcOrd="0" destOrd="0" presId="urn:microsoft.com/office/officeart/2005/8/layout/hierarchy2"/>
    <dgm:cxn modelId="{B49A2E40-FA71-C14B-B350-D3182D837DC2}" type="presParOf" srcId="{723888B8-B057-F44A-AEC4-F0AD5F05714E}" destId="{85719B29-7849-F843-8104-64917C6BFFDF}" srcOrd="1" destOrd="0" presId="urn:microsoft.com/office/officeart/2005/8/layout/hierarchy2"/>
    <dgm:cxn modelId="{5F899591-6458-F244-8151-B6041614F5F4}" type="presParOf" srcId="{85719B29-7849-F843-8104-64917C6BFFDF}" destId="{0D72F578-01E5-284E-A0AB-BE2C3572DBA3}" srcOrd="0" destOrd="0" presId="urn:microsoft.com/office/officeart/2005/8/layout/hierarchy2"/>
    <dgm:cxn modelId="{9FDA9DC2-2514-F945-8AA7-DD53FCBAF4DF}" type="presParOf" srcId="{85719B29-7849-F843-8104-64917C6BFFDF}" destId="{A8EB85D5-92BB-4E4B-8E66-5D3146E4D3CC}" srcOrd="1" destOrd="0" presId="urn:microsoft.com/office/officeart/2005/8/layout/hierarchy2"/>
    <dgm:cxn modelId="{B7443D74-B316-294C-9BC1-50941EB1E80B}" type="presParOf" srcId="{723888B8-B057-F44A-AEC4-F0AD5F05714E}" destId="{6777A401-1ED0-8148-A3BD-2BB5AC024BFC}" srcOrd="2" destOrd="0" presId="urn:microsoft.com/office/officeart/2005/8/layout/hierarchy2"/>
    <dgm:cxn modelId="{97D30C79-DF61-9049-94B7-2F1C7320BB08}" type="presParOf" srcId="{6777A401-1ED0-8148-A3BD-2BB5AC024BFC}" destId="{453E485C-5B58-7048-B81B-6E2050F05617}" srcOrd="0" destOrd="0" presId="urn:microsoft.com/office/officeart/2005/8/layout/hierarchy2"/>
    <dgm:cxn modelId="{1F75C987-824F-6D46-8D83-2B4A5C00F445}" type="presParOf" srcId="{723888B8-B057-F44A-AEC4-F0AD5F05714E}" destId="{E817154C-5C0E-8E40-8B8E-4446B880993D}" srcOrd="3" destOrd="0" presId="urn:microsoft.com/office/officeart/2005/8/layout/hierarchy2"/>
    <dgm:cxn modelId="{E12009B1-34FB-C645-A8C0-7E310E6F4361}" type="presParOf" srcId="{E817154C-5C0E-8E40-8B8E-4446B880993D}" destId="{BBA3A21B-AA75-C047-A29B-24E7CC694176}" srcOrd="0" destOrd="0" presId="urn:microsoft.com/office/officeart/2005/8/layout/hierarchy2"/>
    <dgm:cxn modelId="{338CC95D-14DE-F84B-9EA3-470B5CCDCF29}" type="presParOf" srcId="{E817154C-5C0E-8E40-8B8E-4446B880993D}" destId="{DFA9B99C-8F77-9F48-A739-791C24166966}" srcOrd="1" destOrd="0" presId="urn:microsoft.com/office/officeart/2005/8/layout/hierarchy2"/>
    <dgm:cxn modelId="{DE272426-0109-9A41-810C-10C65E9CEC82}" type="presParOf" srcId="{723888B8-B057-F44A-AEC4-F0AD5F05714E}" destId="{FF11A265-5B5C-9B4A-875A-04D52A8B2F75}" srcOrd="4" destOrd="0" presId="urn:microsoft.com/office/officeart/2005/8/layout/hierarchy2"/>
    <dgm:cxn modelId="{97CB855A-5EE6-9A48-AE21-73A88177893E}" type="presParOf" srcId="{FF11A265-5B5C-9B4A-875A-04D52A8B2F75}" destId="{71D2B678-F3F9-BB49-B53B-B0330C925B41}" srcOrd="0" destOrd="0" presId="urn:microsoft.com/office/officeart/2005/8/layout/hierarchy2"/>
    <dgm:cxn modelId="{19D9B5B1-A8C2-E64F-B75C-4EEB3E6FBCCE}" type="presParOf" srcId="{723888B8-B057-F44A-AEC4-F0AD5F05714E}" destId="{F9721A5A-26D1-C54F-B2FA-96ED2E6887B6}" srcOrd="5" destOrd="0" presId="urn:microsoft.com/office/officeart/2005/8/layout/hierarchy2"/>
    <dgm:cxn modelId="{5BE3C0A8-1C25-EB4F-9C84-3B939E6B0728}" type="presParOf" srcId="{F9721A5A-26D1-C54F-B2FA-96ED2E6887B6}" destId="{AEAB2C15-06BC-1D42-8247-3686A3F48D9D}" srcOrd="0" destOrd="0" presId="urn:microsoft.com/office/officeart/2005/8/layout/hierarchy2"/>
    <dgm:cxn modelId="{CEBE8862-F279-AD40-A9A2-A2B3C74E42BA}" type="presParOf" srcId="{F9721A5A-26D1-C54F-B2FA-96ED2E6887B6}" destId="{4B4F302C-B894-6F40-81C5-FA228D9B79E1}" srcOrd="1" destOrd="0" presId="urn:microsoft.com/office/officeart/2005/8/layout/hierarchy2"/>
    <dgm:cxn modelId="{27E273E7-9F11-0842-8DF9-D858F209BA8F}" type="presParOf" srcId="{723888B8-B057-F44A-AEC4-F0AD5F05714E}" destId="{2AF85CEC-A10D-3049-9B41-55C6959BCADF}" srcOrd="6" destOrd="0" presId="urn:microsoft.com/office/officeart/2005/8/layout/hierarchy2"/>
    <dgm:cxn modelId="{40EF42E0-D329-824D-8AF8-53E0AD8C977E}" type="presParOf" srcId="{2AF85CEC-A10D-3049-9B41-55C6959BCADF}" destId="{FA12E88A-FDA2-E647-A63A-4F43DB300678}" srcOrd="0" destOrd="0" presId="urn:microsoft.com/office/officeart/2005/8/layout/hierarchy2"/>
    <dgm:cxn modelId="{584A46A7-C50F-794B-BCAA-8F23449794A5}" type="presParOf" srcId="{723888B8-B057-F44A-AEC4-F0AD5F05714E}" destId="{B2EDB793-3999-AE42-BDEF-967CE3410269}" srcOrd="7" destOrd="0" presId="urn:microsoft.com/office/officeart/2005/8/layout/hierarchy2"/>
    <dgm:cxn modelId="{6D2BD4C3-4222-BC47-AAB4-B806AC141543}" type="presParOf" srcId="{B2EDB793-3999-AE42-BDEF-967CE3410269}" destId="{8519B04C-0DC2-2E4B-9093-7A5F4DB0D3E2}" srcOrd="0" destOrd="0" presId="urn:microsoft.com/office/officeart/2005/8/layout/hierarchy2"/>
    <dgm:cxn modelId="{421BB293-3782-D949-B169-C01D6FA20D04}" type="presParOf" srcId="{B2EDB793-3999-AE42-BDEF-967CE3410269}" destId="{8BB50619-D870-2447-BD48-BC41B90F11B7}" srcOrd="1" destOrd="0" presId="urn:microsoft.com/office/officeart/2005/8/layout/hierarchy2"/>
    <dgm:cxn modelId="{455A3A9F-B0D1-0447-A17F-F6C9FF0166EA}" type="presParOf" srcId="{723888B8-B057-F44A-AEC4-F0AD5F05714E}" destId="{849075DC-6D25-0449-92DE-A578DD4AE985}" srcOrd="8" destOrd="0" presId="urn:microsoft.com/office/officeart/2005/8/layout/hierarchy2"/>
    <dgm:cxn modelId="{AABB75CE-84D8-4A44-AFAD-3F94FDDAE331}" type="presParOf" srcId="{849075DC-6D25-0449-92DE-A578DD4AE985}" destId="{31D90BD0-CD42-0340-A07B-937078B46E29}" srcOrd="0" destOrd="0" presId="urn:microsoft.com/office/officeart/2005/8/layout/hierarchy2"/>
    <dgm:cxn modelId="{95F501F5-F98A-7545-AA77-D7F9BE65DEA5}" type="presParOf" srcId="{723888B8-B057-F44A-AEC4-F0AD5F05714E}" destId="{C7AA418A-34DC-3B48-A8B5-918AFD8F9AFA}" srcOrd="9" destOrd="0" presId="urn:microsoft.com/office/officeart/2005/8/layout/hierarchy2"/>
    <dgm:cxn modelId="{62A3F494-1C09-9543-BA09-6F3C7595F1B7}" type="presParOf" srcId="{C7AA418A-34DC-3B48-A8B5-918AFD8F9AFA}" destId="{539A6E7A-11A8-D143-8D0C-80B0FC9F2F27}" srcOrd="0" destOrd="0" presId="urn:microsoft.com/office/officeart/2005/8/layout/hierarchy2"/>
    <dgm:cxn modelId="{CBDDFB58-0CD3-794E-8BD1-605421058E3A}" type="presParOf" srcId="{C7AA418A-34DC-3B48-A8B5-918AFD8F9AFA}" destId="{1A49C1C1-4245-AA47-BA35-77A4E0201A77}" srcOrd="1" destOrd="0" presId="urn:microsoft.com/office/officeart/2005/8/layout/hierarchy2"/>
    <dgm:cxn modelId="{CCC5D22D-0FCB-E743-95CB-97632124A805}" type="presParOf" srcId="{9214A0A5-5635-984C-B729-380CCFF791A3}" destId="{F16AB732-5183-2D43-89D5-A4F6E7A16C67}" srcOrd="4" destOrd="0" presId="urn:microsoft.com/office/officeart/2005/8/layout/hierarchy2"/>
    <dgm:cxn modelId="{03BC6BD1-3155-664E-8286-43A35B8FA914}" type="presParOf" srcId="{F16AB732-5183-2D43-89D5-A4F6E7A16C67}" destId="{A5B7C3D0-4311-1542-9BDE-0D0035C79F44}" srcOrd="0" destOrd="0" presId="urn:microsoft.com/office/officeart/2005/8/layout/hierarchy2"/>
    <dgm:cxn modelId="{2EFB59B1-3670-334C-A1EE-9EE040E1C999}" type="presParOf" srcId="{9214A0A5-5635-984C-B729-380CCFF791A3}" destId="{80EF8A8C-270F-AC44-AF6F-9E1A830A07E6}" srcOrd="5" destOrd="0" presId="urn:microsoft.com/office/officeart/2005/8/layout/hierarchy2"/>
    <dgm:cxn modelId="{A67D6EA2-4A64-AF46-8819-EB700590237F}" type="presParOf" srcId="{80EF8A8C-270F-AC44-AF6F-9E1A830A07E6}" destId="{66DB773E-FEBC-5E44-A786-C986B5CCEDBB}" srcOrd="0" destOrd="0" presId="urn:microsoft.com/office/officeart/2005/8/layout/hierarchy2"/>
    <dgm:cxn modelId="{632BBFE3-CF9C-F149-954C-CFD0ABACA90B}" type="presParOf" srcId="{80EF8A8C-270F-AC44-AF6F-9E1A830A07E6}" destId="{6B8EF997-5998-9842-846B-D93B30F01E33}" srcOrd="1" destOrd="0" presId="urn:microsoft.com/office/officeart/2005/8/layout/hierarchy2"/>
    <dgm:cxn modelId="{5601D6EC-40DF-A144-803A-1A08E15F3F25}" type="presParOf" srcId="{6B8EF997-5998-9842-846B-D93B30F01E33}" destId="{C95008DA-A3F1-A34A-977D-052A62246362}" srcOrd="0" destOrd="0" presId="urn:microsoft.com/office/officeart/2005/8/layout/hierarchy2"/>
    <dgm:cxn modelId="{E90D2158-45E4-A643-943D-BDFDDC727B9B}" type="presParOf" srcId="{C95008DA-A3F1-A34A-977D-052A62246362}" destId="{E5FD8402-BD5E-0443-BA1E-BBA85A4BDD97}" srcOrd="0" destOrd="0" presId="urn:microsoft.com/office/officeart/2005/8/layout/hierarchy2"/>
    <dgm:cxn modelId="{C45439A4-69C0-6747-8975-B67D245059BB}" type="presParOf" srcId="{6B8EF997-5998-9842-846B-D93B30F01E33}" destId="{18D20263-4D72-E541-A4F9-A6144E5B595C}" srcOrd="1" destOrd="0" presId="urn:microsoft.com/office/officeart/2005/8/layout/hierarchy2"/>
    <dgm:cxn modelId="{05B7D889-AE50-2144-A851-A4B5ACFD6BBC}" type="presParOf" srcId="{18D20263-4D72-E541-A4F9-A6144E5B595C}" destId="{C1E6BD7C-D109-6B4A-B159-16E330F8D35F}" srcOrd="0" destOrd="0" presId="urn:microsoft.com/office/officeart/2005/8/layout/hierarchy2"/>
    <dgm:cxn modelId="{CDBBDE5E-2A22-F242-A8C7-E2B2A36244DA}" type="presParOf" srcId="{18D20263-4D72-E541-A4F9-A6144E5B595C}" destId="{4D313D2B-4D3A-4943-9A75-C114014B4F58}" srcOrd="1" destOrd="0" presId="urn:microsoft.com/office/officeart/2005/8/layout/hierarchy2"/>
    <dgm:cxn modelId="{8DD20EBC-07B6-CA49-8267-C1493B39F25D}" type="presParOf" srcId="{6B8EF997-5998-9842-846B-D93B30F01E33}" destId="{8CC54DB4-BE1D-204C-9376-49516AC52F21}" srcOrd="2" destOrd="0" presId="urn:microsoft.com/office/officeart/2005/8/layout/hierarchy2"/>
    <dgm:cxn modelId="{B848AB90-E790-A648-B301-E979208C0741}" type="presParOf" srcId="{8CC54DB4-BE1D-204C-9376-49516AC52F21}" destId="{BDE28695-2872-C945-8C6E-C9A140C06EEA}" srcOrd="0" destOrd="0" presId="urn:microsoft.com/office/officeart/2005/8/layout/hierarchy2"/>
    <dgm:cxn modelId="{7EBE48D6-7FE5-1649-BC0B-7B4A0D60DE5C}" type="presParOf" srcId="{6B8EF997-5998-9842-846B-D93B30F01E33}" destId="{89880929-C913-8244-A071-3D82C49F94E5}" srcOrd="3" destOrd="0" presId="urn:microsoft.com/office/officeart/2005/8/layout/hierarchy2"/>
    <dgm:cxn modelId="{7FE9602D-DAEF-644B-92A3-ADBA1E4CB9EF}" type="presParOf" srcId="{89880929-C913-8244-A071-3D82C49F94E5}" destId="{E340E93F-A963-2F4F-9B5E-C9F2008D773A}" srcOrd="0" destOrd="0" presId="urn:microsoft.com/office/officeart/2005/8/layout/hierarchy2"/>
    <dgm:cxn modelId="{1C920A36-C012-194D-BAF0-2D6D3E77C168}" type="presParOf" srcId="{89880929-C913-8244-A071-3D82C49F94E5}" destId="{3D5507A1-2355-F24D-9C46-B13FEB556073}" srcOrd="1" destOrd="0" presId="urn:microsoft.com/office/officeart/2005/8/layout/hierarchy2"/>
    <dgm:cxn modelId="{2764F028-6034-9C45-A05A-4CFD010255DC}" type="presParOf" srcId="{6B8EF997-5998-9842-846B-D93B30F01E33}" destId="{69E061E6-033E-D740-BFFC-2963DB7DA688}" srcOrd="4" destOrd="0" presId="urn:microsoft.com/office/officeart/2005/8/layout/hierarchy2"/>
    <dgm:cxn modelId="{6745598F-98C4-B643-9B6B-A8B27F2CD1E1}" type="presParOf" srcId="{69E061E6-033E-D740-BFFC-2963DB7DA688}" destId="{0A0BEAF7-F444-B04E-A237-1E614B183C19}" srcOrd="0" destOrd="0" presId="urn:microsoft.com/office/officeart/2005/8/layout/hierarchy2"/>
    <dgm:cxn modelId="{85F2B13E-A4BC-7146-9FDD-A6F74B51DAEC}" type="presParOf" srcId="{6B8EF997-5998-9842-846B-D93B30F01E33}" destId="{109B0C8F-BE6D-BB4D-B287-BAFE04509858}" srcOrd="5" destOrd="0" presId="urn:microsoft.com/office/officeart/2005/8/layout/hierarchy2"/>
    <dgm:cxn modelId="{BCAF7E52-50A4-A44D-B0A9-CB4E58C1F4A0}" type="presParOf" srcId="{109B0C8F-BE6D-BB4D-B287-BAFE04509858}" destId="{EFF33456-DBC7-5949-B84A-3389FAFF9DEF}" srcOrd="0" destOrd="0" presId="urn:microsoft.com/office/officeart/2005/8/layout/hierarchy2"/>
    <dgm:cxn modelId="{8A69DFB4-1937-A747-92AC-85611144021A}" type="presParOf" srcId="{109B0C8F-BE6D-BB4D-B287-BAFE04509858}" destId="{ADA9D0ED-6E90-574A-98BF-F8317F79FE86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FF7771C-0DC5-4FDD-915B-E0EFE9C74828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8524CEB-D00C-4AD8-BEBB-DE8F402C592D}">
      <dgm:prSet phldrT="[Text]"/>
      <dgm:spPr/>
      <dgm:t>
        <a:bodyPr/>
        <a:lstStyle/>
        <a:p>
          <a:r>
            <a:rPr lang="en-US" dirty="0" smtClean="0"/>
            <a:t>Citizen Scientists</a:t>
          </a:r>
          <a:endParaRPr lang="en-US" dirty="0"/>
        </a:p>
      </dgm:t>
    </dgm:pt>
    <dgm:pt modelId="{52EB990D-D8F3-4BE0-BCBA-A76DBA8F8B9B}" type="parTrans" cxnId="{FC839416-3D70-4473-92C1-66B8533F24F7}">
      <dgm:prSet/>
      <dgm:spPr/>
      <dgm:t>
        <a:bodyPr/>
        <a:lstStyle/>
        <a:p>
          <a:endParaRPr lang="en-US"/>
        </a:p>
      </dgm:t>
    </dgm:pt>
    <dgm:pt modelId="{EB1EF4B1-B00F-4497-BE55-407813DB87F1}" type="sibTrans" cxnId="{FC839416-3D70-4473-92C1-66B8533F24F7}">
      <dgm:prSet/>
      <dgm:spPr/>
      <dgm:t>
        <a:bodyPr/>
        <a:lstStyle/>
        <a:p>
          <a:endParaRPr lang="en-US"/>
        </a:p>
      </dgm:t>
    </dgm:pt>
    <dgm:pt modelId="{A3EBADEA-5B9E-44F0-91C5-828251D41A0F}">
      <dgm:prSet phldrT="[Text]"/>
      <dgm:spPr/>
      <dgm:t>
        <a:bodyPr/>
        <a:lstStyle/>
        <a:p>
          <a:r>
            <a:rPr lang="en-US" dirty="0" smtClean="0"/>
            <a:t>Novice</a:t>
          </a:r>
          <a:endParaRPr lang="en-US" dirty="0"/>
        </a:p>
      </dgm:t>
    </dgm:pt>
    <dgm:pt modelId="{39F7BA5F-0BD4-49D0-BCEB-476864B88F86}" type="parTrans" cxnId="{200CCCA1-1F30-484E-A502-89FEF8584101}">
      <dgm:prSet/>
      <dgm:spPr/>
      <dgm:t>
        <a:bodyPr/>
        <a:lstStyle/>
        <a:p>
          <a:endParaRPr lang="en-US"/>
        </a:p>
      </dgm:t>
    </dgm:pt>
    <dgm:pt modelId="{D51920BA-CA41-4E69-B6EB-F576D397A1BD}" type="sibTrans" cxnId="{200CCCA1-1F30-484E-A502-89FEF8584101}">
      <dgm:prSet/>
      <dgm:spPr/>
      <dgm:t>
        <a:bodyPr/>
        <a:lstStyle/>
        <a:p>
          <a:endParaRPr lang="en-US"/>
        </a:p>
      </dgm:t>
    </dgm:pt>
    <dgm:pt modelId="{A25C407C-884D-4176-8E5E-71CD2F99DEC3}">
      <dgm:prSet phldrT="[Text]"/>
      <dgm:spPr/>
      <dgm:t>
        <a:bodyPr/>
        <a:lstStyle/>
        <a:p>
          <a:r>
            <a:rPr lang="en-US" dirty="0" smtClean="0"/>
            <a:t>Short Term</a:t>
          </a:r>
          <a:endParaRPr lang="en-US" dirty="0"/>
        </a:p>
      </dgm:t>
    </dgm:pt>
    <dgm:pt modelId="{15374A87-ECA5-4E39-96A0-0B0DE339FC42}" type="parTrans" cxnId="{4997767A-3BC4-44E2-81D0-86B9404C8605}">
      <dgm:prSet/>
      <dgm:spPr/>
      <dgm:t>
        <a:bodyPr/>
        <a:lstStyle/>
        <a:p>
          <a:endParaRPr lang="en-US"/>
        </a:p>
      </dgm:t>
    </dgm:pt>
    <dgm:pt modelId="{34C94B10-053C-49BE-AC5F-8B0FB99CF723}" type="sibTrans" cxnId="{4997767A-3BC4-44E2-81D0-86B9404C8605}">
      <dgm:prSet/>
      <dgm:spPr/>
      <dgm:t>
        <a:bodyPr/>
        <a:lstStyle/>
        <a:p>
          <a:endParaRPr lang="en-US"/>
        </a:p>
      </dgm:t>
    </dgm:pt>
    <dgm:pt modelId="{9ED45744-51AB-496E-8223-7662A6607637}">
      <dgm:prSet phldrT="[Text]"/>
      <dgm:spPr/>
      <dgm:t>
        <a:bodyPr/>
        <a:lstStyle/>
        <a:p>
          <a:r>
            <a:rPr lang="en-US" dirty="0" smtClean="0"/>
            <a:t>Has Mobile Signal</a:t>
          </a:r>
          <a:endParaRPr lang="en-US" dirty="0"/>
        </a:p>
      </dgm:t>
    </dgm:pt>
    <dgm:pt modelId="{AE16746A-BA09-42B1-8C14-65AAEF1DAFC1}" type="parTrans" cxnId="{22AB7521-2CAA-437B-92DD-587B8D193412}">
      <dgm:prSet/>
      <dgm:spPr/>
      <dgm:t>
        <a:bodyPr/>
        <a:lstStyle/>
        <a:p>
          <a:endParaRPr lang="en-US"/>
        </a:p>
      </dgm:t>
    </dgm:pt>
    <dgm:pt modelId="{D6A09E74-DD12-4BE8-8D2B-8EF2989E9BF5}" type="sibTrans" cxnId="{22AB7521-2CAA-437B-92DD-587B8D193412}">
      <dgm:prSet/>
      <dgm:spPr/>
      <dgm:t>
        <a:bodyPr/>
        <a:lstStyle/>
        <a:p>
          <a:endParaRPr lang="en-US"/>
        </a:p>
      </dgm:t>
    </dgm:pt>
    <dgm:pt modelId="{D74EAA0E-CCCB-4175-82C0-F0BAA20502E2}">
      <dgm:prSet phldrT="[Text]"/>
      <dgm:spPr/>
      <dgm:t>
        <a:bodyPr/>
        <a:lstStyle/>
        <a:p>
          <a:r>
            <a:rPr lang="en-US" dirty="0" smtClean="0"/>
            <a:t>SEEDN</a:t>
          </a:r>
          <a:endParaRPr lang="en-US" dirty="0"/>
        </a:p>
      </dgm:t>
    </dgm:pt>
    <dgm:pt modelId="{CA60EAD4-34FB-4AC4-A8ED-3431A23195DD}" type="parTrans" cxnId="{67CCEC7F-7F6B-4B2B-8DA8-C921D1EA3393}">
      <dgm:prSet/>
      <dgm:spPr/>
      <dgm:t>
        <a:bodyPr/>
        <a:lstStyle/>
        <a:p>
          <a:endParaRPr lang="en-US"/>
        </a:p>
      </dgm:t>
    </dgm:pt>
    <dgm:pt modelId="{BA823A1E-21EE-4FA0-9A9D-BACEE2E69E78}" type="sibTrans" cxnId="{67CCEC7F-7F6B-4B2B-8DA8-C921D1EA3393}">
      <dgm:prSet/>
      <dgm:spPr/>
      <dgm:t>
        <a:bodyPr/>
        <a:lstStyle/>
        <a:p>
          <a:endParaRPr lang="en-US"/>
        </a:p>
      </dgm:t>
    </dgm:pt>
    <dgm:pt modelId="{7C9C4B7E-DD37-4ECA-947B-7BF318D6F14A}" type="pres">
      <dgm:prSet presAssocID="{3FF7771C-0DC5-4FDD-915B-E0EFE9C74828}" presName="Name0" presStyleCnt="0">
        <dgm:presLayoutVars>
          <dgm:chMax val="11"/>
          <dgm:chPref val="11"/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3435A614-4453-4191-A434-C35F60D05474}" type="pres">
      <dgm:prSet presAssocID="{D74EAA0E-CCCB-4175-82C0-F0BAA20502E2}" presName="Accent5" presStyleCnt="0"/>
      <dgm:spPr/>
    </dgm:pt>
    <dgm:pt modelId="{56DB4081-3A46-410C-BF72-031F6117B0D9}" type="pres">
      <dgm:prSet presAssocID="{D74EAA0E-CCCB-4175-82C0-F0BAA20502E2}" presName="Accent" presStyleLbl="node1" presStyleIdx="0" presStyleCnt="5"/>
      <dgm:spPr/>
    </dgm:pt>
    <dgm:pt modelId="{F554AA8B-E33B-4070-AFD8-EE8BFF6D26B4}" type="pres">
      <dgm:prSet presAssocID="{D74EAA0E-CCCB-4175-82C0-F0BAA20502E2}" presName="ParentBackground5" presStyleCnt="0"/>
      <dgm:spPr/>
    </dgm:pt>
    <dgm:pt modelId="{F78B8BEC-7021-4188-B678-F8ECF9E10656}" type="pres">
      <dgm:prSet presAssocID="{D74EAA0E-CCCB-4175-82C0-F0BAA20502E2}" presName="ParentBackground" presStyleLbl="fgAcc1" presStyleIdx="0" presStyleCnt="5"/>
      <dgm:spPr/>
      <dgm:t>
        <a:bodyPr/>
        <a:lstStyle/>
        <a:p>
          <a:endParaRPr lang="en-US"/>
        </a:p>
      </dgm:t>
    </dgm:pt>
    <dgm:pt modelId="{502F7B3B-7982-4991-89F9-C7212F402EFA}" type="pres">
      <dgm:prSet presAssocID="{D74EAA0E-CCCB-4175-82C0-F0BAA20502E2}" presName="Parent5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8C2C06-7E89-4F3E-948A-05D6969063DF}" type="pres">
      <dgm:prSet presAssocID="{9ED45744-51AB-496E-8223-7662A6607637}" presName="Accent4" presStyleCnt="0"/>
      <dgm:spPr/>
    </dgm:pt>
    <dgm:pt modelId="{DFE9E2DF-D5E0-4929-A375-B7B4869EB49C}" type="pres">
      <dgm:prSet presAssocID="{9ED45744-51AB-496E-8223-7662A6607637}" presName="Accent" presStyleLbl="node1" presStyleIdx="1" presStyleCnt="5"/>
      <dgm:spPr/>
    </dgm:pt>
    <dgm:pt modelId="{93E69722-B3A8-405B-8D24-57A1721FB11C}" type="pres">
      <dgm:prSet presAssocID="{9ED45744-51AB-496E-8223-7662A6607637}" presName="ParentBackground4" presStyleCnt="0"/>
      <dgm:spPr/>
    </dgm:pt>
    <dgm:pt modelId="{F4DF905B-1D65-44C4-BA71-98247709DF8F}" type="pres">
      <dgm:prSet presAssocID="{9ED45744-51AB-496E-8223-7662A6607637}" presName="ParentBackground" presStyleLbl="fgAcc1" presStyleIdx="1" presStyleCnt="5"/>
      <dgm:spPr/>
      <dgm:t>
        <a:bodyPr/>
        <a:lstStyle/>
        <a:p>
          <a:endParaRPr lang="en-US"/>
        </a:p>
      </dgm:t>
    </dgm:pt>
    <dgm:pt modelId="{15B2F69E-2094-4E21-8B79-9AA7734BDE31}" type="pres">
      <dgm:prSet presAssocID="{9ED45744-51AB-496E-8223-7662A6607637}" presName="Parent4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1A4E66-9C46-4EE7-B221-8D921EE13B6F}" type="pres">
      <dgm:prSet presAssocID="{A25C407C-884D-4176-8E5E-71CD2F99DEC3}" presName="Accent3" presStyleCnt="0"/>
      <dgm:spPr/>
    </dgm:pt>
    <dgm:pt modelId="{076A0E90-3C18-46B1-88CB-1AD716122E16}" type="pres">
      <dgm:prSet presAssocID="{A25C407C-884D-4176-8E5E-71CD2F99DEC3}" presName="Accent" presStyleLbl="node1" presStyleIdx="2" presStyleCnt="5"/>
      <dgm:spPr/>
    </dgm:pt>
    <dgm:pt modelId="{34572C35-B8F2-4F34-A37B-CC6138FAE4D9}" type="pres">
      <dgm:prSet presAssocID="{A25C407C-884D-4176-8E5E-71CD2F99DEC3}" presName="ParentBackground3" presStyleCnt="0"/>
      <dgm:spPr/>
    </dgm:pt>
    <dgm:pt modelId="{76664F28-CC81-4761-B0DB-59C06481966C}" type="pres">
      <dgm:prSet presAssocID="{A25C407C-884D-4176-8E5E-71CD2F99DEC3}" presName="ParentBackground" presStyleLbl="fgAcc1" presStyleIdx="2" presStyleCnt="5"/>
      <dgm:spPr/>
      <dgm:t>
        <a:bodyPr/>
        <a:lstStyle/>
        <a:p>
          <a:endParaRPr lang="en-US"/>
        </a:p>
      </dgm:t>
    </dgm:pt>
    <dgm:pt modelId="{BF343832-D0B4-4FB6-A5D1-0E9417BEB483}" type="pres">
      <dgm:prSet presAssocID="{A25C407C-884D-4176-8E5E-71CD2F99DEC3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4DE7B6-CB1F-4A3E-B916-BEECA901897B}" type="pres">
      <dgm:prSet presAssocID="{A3EBADEA-5B9E-44F0-91C5-828251D41A0F}" presName="Accent2" presStyleCnt="0"/>
      <dgm:spPr/>
    </dgm:pt>
    <dgm:pt modelId="{C6BD4119-014C-4B1B-BF19-0756172E35E0}" type="pres">
      <dgm:prSet presAssocID="{A3EBADEA-5B9E-44F0-91C5-828251D41A0F}" presName="Accent" presStyleLbl="node1" presStyleIdx="3" presStyleCnt="5"/>
      <dgm:spPr/>
    </dgm:pt>
    <dgm:pt modelId="{0CA9BE5F-7236-4EF5-9469-4A908E0539A1}" type="pres">
      <dgm:prSet presAssocID="{A3EBADEA-5B9E-44F0-91C5-828251D41A0F}" presName="ParentBackground2" presStyleCnt="0"/>
      <dgm:spPr/>
    </dgm:pt>
    <dgm:pt modelId="{C8900B9E-54D2-4CCA-93BD-E493B4AC1C62}" type="pres">
      <dgm:prSet presAssocID="{A3EBADEA-5B9E-44F0-91C5-828251D41A0F}" presName="ParentBackground" presStyleLbl="fgAcc1" presStyleIdx="3" presStyleCnt="5"/>
      <dgm:spPr/>
      <dgm:t>
        <a:bodyPr/>
        <a:lstStyle/>
        <a:p>
          <a:endParaRPr lang="en-US"/>
        </a:p>
      </dgm:t>
    </dgm:pt>
    <dgm:pt modelId="{6B0E9301-A88E-4AC9-84B3-65509508B18D}" type="pres">
      <dgm:prSet presAssocID="{A3EBADEA-5B9E-44F0-91C5-828251D41A0F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27B971-EA99-4086-9A9F-D20C6BBF40A3}" type="pres">
      <dgm:prSet presAssocID="{58524CEB-D00C-4AD8-BEBB-DE8F402C592D}" presName="Accent1" presStyleCnt="0"/>
      <dgm:spPr/>
    </dgm:pt>
    <dgm:pt modelId="{726D7243-5910-4263-B965-3418AFE8342F}" type="pres">
      <dgm:prSet presAssocID="{58524CEB-D00C-4AD8-BEBB-DE8F402C592D}" presName="Accent" presStyleLbl="node1" presStyleIdx="4" presStyleCnt="5"/>
      <dgm:spPr/>
    </dgm:pt>
    <dgm:pt modelId="{BA3D2062-413C-4E1A-A58D-8154F47551A3}" type="pres">
      <dgm:prSet presAssocID="{58524CEB-D00C-4AD8-BEBB-DE8F402C592D}" presName="ParentBackground1" presStyleCnt="0"/>
      <dgm:spPr/>
    </dgm:pt>
    <dgm:pt modelId="{715CFFD8-7ABA-4226-8521-6370C1F0E111}" type="pres">
      <dgm:prSet presAssocID="{58524CEB-D00C-4AD8-BEBB-DE8F402C592D}" presName="ParentBackground" presStyleLbl="fgAcc1" presStyleIdx="4" presStyleCnt="5"/>
      <dgm:spPr/>
      <dgm:t>
        <a:bodyPr/>
        <a:lstStyle/>
        <a:p>
          <a:endParaRPr lang="en-US"/>
        </a:p>
      </dgm:t>
    </dgm:pt>
    <dgm:pt modelId="{497EED43-21ED-47F8-B409-2D9D2BD0CBEF}" type="pres">
      <dgm:prSet presAssocID="{58524CEB-D00C-4AD8-BEBB-DE8F402C592D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FF2E072-754C-4367-856D-28F934066FEA}" type="presOf" srcId="{D74EAA0E-CCCB-4175-82C0-F0BAA20502E2}" destId="{502F7B3B-7982-4991-89F9-C7212F402EFA}" srcOrd="1" destOrd="0" presId="urn:microsoft.com/office/officeart/2011/layout/CircleProcess"/>
    <dgm:cxn modelId="{98FB8235-474A-4D43-AA31-7528F8A26D1F}" type="presOf" srcId="{A25C407C-884D-4176-8E5E-71CD2F99DEC3}" destId="{BF343832-D0B4-4FB6-A5D1-0E9417BEB483}" srcOrd="1" destOrd="0" presId="urn:microsoft.com/office/officeart/2011/layout/CircleProcess"/>
    <dgm:cxn modelId="{EFC2F6E2-4ABD-425A-B560-9F03C42E9DB1}" type="presOf" srcId="{A25C407C-884D-4176-8E5E-71CD2F99DEC3}" destId="{76664F28-CC81-4761-B0DB-59C06481966C}" srcOrd="0" destOrd="0" presId="urn:microsoft.com/office/officeart/2011/layout/CircleProcess"/>
    <dgm:cxn modelId="{200CCCA1-1F30-484E-A502-89FEF8584101}" srcId="{3FF7771C-0DC5-4FDD-915B-E0EFE9C74828}" destId="{A3EBADEA-5B9E-44F0-91C5-828251D41A0F}" srcOrd="1" destOrd="0" parTransId="{39F7BA5F-0BD4-49D0-BCEB-476864B88F86}" sibTransId="{D51920BA-CA41-4E69-B6EB-F576D397A1BD}"/>
    <dgm:cxn modelId="{E2E1AE4E-B278-48DA-AE45-05D994C2048A}" type="presOf" srcId="{9ED45744-51AB-496E-8223-7662A6607637}" destId="{F4DF905B-1D65-44C4-BA71-98247709DF8F}" srcOrd="0" destOrd="0" presId="urn:microsoft.com/office/officeart/2011/layout/CircleProcess"/>
    <dgm:cxn modelId="{0A7CAB54-DB2C-4085-B8D7-E0838EE887EE}" type="presOf" srcId="{A3EBADEA-5B9E-44F0-91C5-828251D41A0F}" destId="{C8900B9E-54D2-4CCA-93BD-E493B4AC1C62}" srcOrd="0" destOrd="0" presId="urn:microsoft.com/office/officeart/2011/layout/CircleProcess"/>
    <dgm:cxn modelId="{A9255A7E-1C7B-45C3-87E2-5397F6282422}" type="presOf" srcId="{D74EAA0E-CCCB-4175-82C0-F0BAA20502E2}" destId="{F78B8BEC-7021-4188-B678-F8ECF9E10656}" srcOrd="0" destOrd="0" presId="urn:microsoft.com/office/officeart/2011/layout/CircleProcess"/>
    <dgm:cxn modelId="{2082F2A7-EC12-4B28-9E9A-91DCE3B6D651}" type="presOf" srcId="{A3EBADEA-5B9E-44F0-91C5-828251D41A0F}" destId="{6B0E9301-A88E-4AC9-84B3-65509508B18D}" srcOrd="1" destOrd="0" presId="urn:microsoft.com/office/officeart/2011/layout/CircleProcess"/>
    <dgm:cxn modelId="{1B67E800-0875-47B3-9FAD-D2D7EBFBD431}" type="presOf" srcId="{3FF7771C-0DC5-4FDD-915B-E0EFE9C74828}" destId="{7C9C4B7E-DD37-4ECA-947B-7BF318D6F14A}" srcOrd="0" destOrd="0" presId="urn:microsoft.com/office/officeart/2011/layout/CircleProcess"/>
    <dgm:cxn modelId="{67CCEC7F-7F6B-4B2B-8DA8-C921D1EA3393}" srcId="{3FF7771C-0DC5-4FDD-915B-E0EFE9C74828}" destId="{D74EAA0E-CCCB-4175-82C0-F0BAA20502E2}" srcOrd="4" destOrd="0" parTransId="{CA60EAD4-34FB-4AC4-A8ED-3431A23195DD}" sibTransId="{BA823A1E-21EE-4FA0-9A9D-BACEE2E69E78}"/>
    <dgm:cxn modelId="{22185D8A-1681-4D0A-8EC3-F30F46DCEA2B}" type="presOf" srcId="{58524CEB-D00C-4AD8-BEBB-DE8F402C592D}" destId="{497EED43-21ED-47F8-B409-2D9D2BD0CBEF}" srcOrd="1" destOrd="0" presId="urn:microsoft.com/office/officeart/2011/layout/CircleProcess"/>
    <dgm:cxn modelId="{4997767A-3BC4-44E2-81D0-86B9404C8605}" srcId="{3FF7771C-0DC5-4FDD-915B-E0EFE9C74828}" destId="{A25C407C-884D-4176-8E5E-71CD2F99DEC3}" srcOrd="2" destOrd="0" parTransId="{15374A87-ECA5-4E39-96A0-0B0DE339FC42}" sibTransId="{34C94B10-053C-49BE-AC5F-8B0FB99CF723}"/>
    <dgm:cxn modelId="{B6152D7C-4155-4053-9C66-46218C0E2A67}" type="presOf" srcId="{9ED45744-51AB-496E-8223-7662A6607637}" destId="{15B2F69E-2094-4E21-8B79-9AA7734BDE31}" srcOrd="1" destOrd="0" presId="urn:microsoft.com/office/officeart/2011/layout/CircleProcess"/>
    <dgm:cxn modelId="{22AB7521-2CAA-437B-92DD-587B8D193412}" srcId="{3FF7771C-0DC5-4FDD-915B-E0EFE9C74828}" destId="{9ED45744-51AB-496E-8223-7662A6607637}" srcOrd="3" destOrd="0" parTransId="{AE16746A-BA09-42B1-8C14-65AAEF1DAFC1}" sibTransId="{D6A09E74-DD12-4BE8-8D2B-8EF2989E9BF5}"/>
    <dgm:cxn modelId="{068EB50B-3235-4C2D-ADB5-9278CB7D78EA}" type="presOf" srcId="{58524CEB-D00C-4AD8-BEBB-DE8F402C592D}" destId="{715CFFD8-7ABA-4226-8521-6370C1F0E111}" srcOrd="0" destOrd="0" presId="urn:microsoft.com/office/officeart/2011/layout/CircleProcess"/>
    <dgm:cxn modelId="{FC839416-3D70-4473-92C1-66B8533F24F7}" srcId="{3FF7771C-0DC5-4FDD-915B-E0EFE9C74828}" destId="{58524CEB-D00C-4AD8-BEBB-DE8F402C592D}" srcOrd="0" destOrd="0" parTransId="{52EB990D-D8F3-4BE0-BCBA-A76DBA8F8B9B}" sibTransId="{EB1EF4B1-B00F-4497-BE55-407813DB87F1}"/>
    <dgm:cxn modelId="{7DB0DF63-FB0A-4A6C-ADFD-597125D970F5}" type="presParOf" srcId="{7C9C4B7E-DD37-4ECA-947B-7BF318D6F14A}" destId="{3435A614-4453-4191-A434-C35F60D05474}" srcOrd="0" destOrd="0" presId="urn:microsoft.com/office/officeart/2011/layout/CircleProcess"/>
    <dgm:cxn modelId="{19280D41-BBCF-43E8-A4AD-AC8C56B5B5BF}" type="presParOf" srcId="{3435A614-4453-4191-A434-C35F60D05474}" destId="{56DB4081-3A46-410C-BF72-031F6117B0D9}" srcOrd="0" destOrd="0" presId="urn:microsoft.com/office/officeart/2011/layout/CircleProcess"/>
    <dgm:cxn modelId="{E1F8EC9A-2BBA-499E-AD6C-96D021F4960C}" type="presParOf" srcId="{7C9C4B7E-DD37-4ECA-947B-7BF318D6F14A}" destId="{F554AA8B-E33B-4070-AFD8-EE8BFF6D26B4}" srcOrd="1" destOrd="0" presId="urn:microsoft.com/office/officeart/2011/layout/CircleProcess"/>
    <dgm:cxn modelId="{C567E52B-33BB-480B-8AB9-0562DEE50685}" type="presParOf" srcId="{F554AA8B-E33B-4070-AFD8-EE8BFF6D26B4}" destId="{F78B8BEC-7021-4188-B678-F8ECF9E10656}" srcOrd="0" destOrd="0" presId="urn:microsoft.com/office/officeart/2011/layout/CircleProcess"/>
    <dgm:cxn modelId="{2951777A-A81E-44F4-A85E-00A184603A61}" type="presParOf" srcId="{7C9C4B7E-DD37-4ECA-947B-7BF318D6F14A}" destId="{502F7B3B-7982-4991-89F9-C7212F402EFA}" srcOrd="2" destOrd="0" presId="urn:microsoft.com/office/officeart/2011/layout/CircleProcess"/>
    <dgm:cxn modelId="{A9433D02-F360-4154-A54D-1F3BC2758547}" type="presParOf" srcId="{7C9C4B7E-DD37-4ECA-947B-7BF318D6F14A}" destId="{C98C2C06-7E89-4F3E-948A-05D6969063DF}" srcOrd="3" destOrd="0" presId="urn:microsoft.com/office/officeart/2011/layout/CircleProcess"/>
    <dgm:cxn modelId="{4339A2FB-95F4-4F17-ABAA-501FCB0129AA}" type="presParOf" srcId="{C98C2C06-7E89-4F3E-948A-05D6969063DF}" destId="{DFE9E2DF-D5E0-4929-A375-B7B4869EB49C}" srcOrd="0" destOrd="0" presId="urn:microsoft.com/office/officeart/2011/layout/CircleProcess"/>
    <dgm:cxn modelId="{070C23AE-DAC0-4982-9223-EEEB73708114}" type="presParOf" srcId="{7C9C4B7E-DD37-4ECA-947B-7BF318D6F14A}" destId="{93E69722-B3A8-405B-8D24-57A1721FB11C}" srcOrd="4" destOrd="0" presId="urn:microsoft.com/office/officeart/2011/layout/CircleProcess"/>
    <dgm:cxn modelId="{FEC774FE-E897-453E-93CB-006D6BF87247}" type="presParOf" srcId="{93E69722-B3A8-405B-8D24-57A1721FB11C}" destId="{F4DF905B-1D65-44C4-BA71-98247709DF8F}" srcOrd="0" destOrd="0" presId="urn:microsoft.com/office/officeart/2011/layout/CircleProcess"/>
    <dgm:cxn modelId="{6E3D1B3E-FB74-41C3-B8EE-6C85C5AE57FE}" type="presParOf" srcId="{7C9C4B7E-DD37-4ECA-947B-7BF318D6F14A}" destId="{15B2F69E-2094-4E21-8B79-9AA7734BDE31}" srcOrd="5" destOrd="0" presId="urn:microsoft.com/office/officeart/2011/layout/CircleProcess"/>
    <dgm:cxn modelId="{C91027FB-80C8-4DD2-B62C-AD3CD126139B}" type="presParOf" srcId="{7C9C4B7E-DD37-4ECA-947B-7BF318D6F14A}" destId="{BC1A4E66-9C46-4EE7-B221-8D921EE13B6F}" srcOrd="6" destOrd="0" presId="urn:microsoft.com/office/officeart/2011/layout/CircleProcess"/>
    <dgm:cxn modelId="{C2DE847E-E1A1-4D19-8610-FD6288E28040}" type="presParOf" srcId="{BC1A4E66-9C46-4EE7-B221-8D921EE13B6F}" destId="{076A0E90-3C18-46B1-88CB-1AD716122E16}" srcOrd="0" destOrd="0" presId="urn:microsoft.com/office/officeart/2011/layout/CircleProcess"/>
    <dgm:cxn modelId="{B1D7B752-0355-491D-9D7F-A96981055F5D}" type="presParOf" srcId="{7C9C4B7E-DD37-4ECA-947B-7BF318D6F14A}" destId="{34572C35-B8F2-4F34-A37B-CC6138FAE4D9}" srcOrd="7" destOrd="0" presId="urn:microsoft.com/office/officeart/2011/layout/CircleProcess"/>
    <dgm:cxn modelId="{6A241A5E-A5E2-46D9-B34E-9711B68698A6}" type="presParOf" srcId="{34572C35-B8F2-4F34-A37B-CC6138FAE4D9}" destId="{76664F28-CC81-4761-B0DB-59C06481966C}" srcOrd="0" destOrd="0" presId="urn:microsoft.com/office/officeart/2011/layout/CircleProcess"/>
    <dgm:cxn modelId="{9064F944-2382-4C4D-8167-C74FD516E42F}" type="presParOf" srcId="{7C9C4B7E-DD37-4ECA-947B-7BF318D6F14A}" destId="{BF343832-D0B4-4FB6-A5D1-0E9417BEB483}" srcOrd="8" destOrd="0" presId="urn:microsoft.com/office/officeart/2011/layout/CircleProcess"/>
    <dgm:cxn modelId="{AB425B28-B38B-43BF-BFA2-CCE076064312}" type="presParOf" srcId="{7C9C4B7E-DD37-4ECA-947B-7BF318D6F14A}" destId="{C44DE7B6-CB1F-4A3E-B916-BEECA901897B}" srcOrd="9" destOrd="0" presId="urn:microsoft.com/office/officeart/2011/layout/CircleProcess"/>
    <dgm:cxn modelId="{CA636BE2-AED3-4F7B-B044-48CCFE270E13}" type="presParOf" srcId="{C44DE7B6-CB1F-4A3E-B916-BEECA901897B}" destId="{C6BD4119-014C-4B1B-BF19-0756172E35E0}" srcOrd="0" destOrd="0" presId="urn:microsoft.com/office/officeart/2011/layout/CircleProcess"/>
    <dgm:cxn modelId="{D8D286AE-1907-400B-BA9F-D1F7281AA383}" type="presParOf" srcId="{7C9C4B7E-DD37-4ECA-947B-7BF318D6F14A}" destId="{0CA9BE5F-7236-4EF5-9469-4A908E0539A1}" srcOrd="10" destOrd="0" presId="urn:microsoft.com/office/officeart/2011/layout/CircleProcess"/>
    <dgm:cxn modelId="{1C63429F-846A-4F26-A2DB-00BDC0FBBF93}" type="presParOf" srcId="{0CA9BE5F-7236-4EF5-9469-4A908E0539A1}" destId="{C8900B9E-54D2-4CCA-93BD-E493B4AC1C62}" srcOrd="0" destOrd="0" presId="urn:microsoft.com/office/officeart/2011/layout/CircleProcess"/>
    <dgm:cxn modelId="{C1BE9A79-B57B-4930-AA52-330C52067884}" type="presParOf" srcId="{7C9C4B7E-DD37-4ECA-947B-7BF318D6F14A}" destId="{6B0E9301-A88E-4AC9-84B3-65509508B18D}" srcOrd="11" destOrd="0" presId="urn:microsoft.com/office/officeart/2011/layout/CircleProcess"/>
    <dgm:cxn modelId="{1759C4E2-12F3-4233-ABA5-7655F40B0047}" type="presParOf" srcId="{7C9C4B7E-DD37-4ECA-947B-7BF318D6F14A}" destId="{1127B971-EA99-4086-9A9F-D20C6BBF40A3}" srcOrd="12" destOrd="0" presId="urn:microsoft.com/office/officeart/2011/layout/CircleProcess"/>
    <dgm:cxn modelId="{11A55507-8A03-44A9-8907-94768BD7D95B}" type="presParOf" srcId="{1127B971-EA99-4086-9A9F-D20C6BBF40A3}" destId="{726D7243-5910-4263-B965-3418AFE8342F}" srcOrd="0" destOrd="0" presId="urn:microsoft.com/office/officeart/2011/layout/CircleProcess"/>
    <dgm:cxn modelId="{7F98E710-ECF9-452D-8421-131CE24BA4C5}" type="presParOf" srcId="{7C9C4B7E-DD37-4ECA-947B-7BF318D6F14A}" destId="{BA3D2062-413C-4E1A-A58D-8154F47551A3}" srcOrd="13" destOrd="0" presId="urn:microsoft.com/office/officeart/2011/layout/CircleProcess"/>
    <dgm:cxn modelId="{AEC818DE-69E0-413E-B6D0-A5E6BE09FAC3}" type="presParOf" srcId="{BA3D2062-413C-4E1A-A58D-8154F47551A3}" destId="{715CFFD8-7ABA-4226-8521-6370C1F0E111}" srcOrd="0" destOrd="0" presId="urn:microsoft.com/office/officeart/2011/layout/CircleProcess"/>
    <dgm:cxn modelId="{A1C85C50-DD73-4475-98C5-ACE9CE466137}" type="presParOf" srcId="{7C9C4B7E-DD37-4ECA-947B-7BF318D6F14A}" destId="{497EED43-21ED-47F8-B409-2D9D2BD0CBEF}" srcOrd="14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FF7771C-0DC5-4FDD-915B-E0EFE9C74828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8524CEB-D00C-4AD8-BEBB-DE8F402C592D}">
      <dgm:prSet phldrT="[Text]"/>
      <dgm:spPr/>
      <dgm:t>
        <a:bodyPr/>
        <a:lstStyle/>
        <a:p>
          <a:r>
            <a:rPr lang="en-US" dirty="0" smtClean="0"/>
            <a:t>Professional</a:t>
          </a:r>
          <a:endParaRPr lang="en-US" dirty="0"/>
        </a:p>
      </dgm:t>
    </dgm:pt>
    <dgm:pt modelId="{52EB990D-D8F3-4BE0-BCBA-A76DBA8F8B9B}" type="parTrans" cxnId="{FC839416-3D70-4473-92C1-66B8533F24F7}">
      <dgm:prSet/>
      <dgm:spPr/>
      <dgm:t>
        <a:bodyPr/>
        <a:lstStyle/>
        <a:p>
          <a:endParaRPr lang="en-US"/>
        </a:p>
      </dgm:t>
    </dgm:pt>
    <dgm:pt modelId="{EB1EF4B1-B00F-4497-BE55-407813DB87F1}" type="sibTrans" cxnId="{FC839416-3D70-4473-92C1-66B8533F24F7}">
      <dgm:prSet/>
      <dgm:spPr/>
      <dgm:t>
        <a:bodyPr/>
        <a:lstStyle/>
        <a:p>
          <a:endParaRPr lang="en-US"/>
        </a:p>
      </dgm:t>
    </dgm:pt>
    <dgm:pt modelId="{A3EBADEA-5B9E-44F0-91C5-828251D41A0F}">
      <dgm:prSet phldrT="[Text]"/>
      <dgm:spPr/>
      <dgm:t>
        <a:bodyPr/>
        <a:lstStyle/>
        <a:p>
          <a:r>
            <a:rPr lang="en-US" dirty="0" smtClean="0"/>
            <a:t>Expert</a:t>
          </a:r>
          <a:endParaRPr lang="en-US" dirty="0"/>
        </a:p>
      </dgm:t>
    </dgm:pt>
    <dgm:pt modelId="{39F7BA5F-0BD4-49D0-BCEB-476864B88F86}" type="parTrans" cxnId="{200CCCA1-1F30-484E-A502-89FEF8584101}">
      <dgm:prSet/>
      <dgm:spPr/>
      <dgm:t>
        <a:bodyPr/>
        <a:lstStyle/>
        <a:p>
          <a:endParaRPr lang="en-US"/>
        </a:p>
      </dgm:t>
    </dgm:pt>
    <dgm:pt modelId="{D51920BA-CA41-4E69-B6EB-F576D397A1BD}" type="sibTrans" cxnId="{200CCCA1-1F30-484E-A502-89FEF8584101}">
      <dgm:prSet/>
      <dgm:spPr/>
      <dgm:t>
        <a:bodyPr/>
        <a:lstStyle/>
        <a:p>
          <a:endParaRPr lang="en-US"/>
        </a:p>
      </dgm:t>
    </dgm:pt>
    <dgm:pt modelId="{A25C407C-884D-4176-8E5E-71CD2F99DEC3}">
      <dgm:prSet phldrT="[Text]"/>
      <dgm:spPr/>
      <dgm:t>
        <a:bodyPr/>
        <a:lstStyle/>
        <a:p>
          <a:r>
            <a:rPr lang="en-US" dirty="0" smtClean="0"/>
            <a:t>Long Term</a:t>
          </a:r>
          <a:endParaRPr lang="en-US" dirty="0"/>
        </a:p>
      </dgm:t>
    </dgm:pt>
    <dgm:pt modelId="{15374A87-ECA5-4E39-96A0-0B0DE339FC42}" type="parTrans" cxnId="{4997767A-3BC4-44E2-81D0-86B9404C8605}">
      <dgm:prSet/>
      <dgm:spPr/>
      <dgm:t>
        <a:bodyPr/>
        <a:lstStyle/>
        <a:p>
          <a:endParaRPr lang="en-US"/>
        </a:p>
      </dgm:t>
    </dgm:pt>
    <dgm:pt modelId="{34C94B10-053C-49BE-AC5F-8B0FB99CF723}" type="sibTrans" cxnId="{4997767A-3BC4-44E2-81D0-86B9404C8605}">
      <dgm:prSet/>
      <dgm:spPr/>
      <dgm:t>
        <a:bodyPr/>
        <a:lstStyle/>
        <a:p>
          <a:endParaRPr lang="en-US"/>
        </a:p>
      </dgm:t>
    </dgm:pt>
    <dgm:pt modelId="{9ED45744-51AB-496E-8223-7662A6607637}">
      <dgm:prSet phldrT="[Text]"/>
      <dgm:spPr/>
      <dgm:t>
        <a:bodyPr/>
        <a:lstStyle/>
        <a:p>
          <a:r>
            <a:rPr lang="en-US" dirty="0" smtClean="0"/>
            <a:t>No/Low Mobile Signal</a:t>
          </a:r>
          <a:endParaRPr lang="en-US" dirty="0"/>
        </a:p>
      </dgm:t>
    </dgm:pt>
    <dgm:pt modelId="{AE16746A-BA09-42B1-8C14-65AAEF1DAFC1}" type="parTrans" cxnId="{22AB7521-2CAA-437B-92DD-587B8D193412}">
      <dgm:prSet/>
      <dgm:spPr/>
      <dgm:t>
        <a:bodyPr/>
        <a:lstStyle/>
        <a:p>
          <a:endParaRPr lang="en-US"/>
        </a:p>
      </dgm:t>
    </dgm:pt>
    <dgm:pt modelId="{D6A09E74-DD12-4BE8-8D2B-8EF2989E9BF5}" type="sibTrans" cxnId="{22AB7521-2CAA-437B-92DD-587B8D193412}">
      <dgm:prSet/>
      <dgm:spPr/>
      <dgm:t>
        <a:bodyPr/>
        <a:lstStyle/>
        <a:p>
          <a:endParaRPr lang="en-US"/>
        </a:p>
      </dgm:t>
    </dgm:pt>
    <dgm:pt modelId="{D74EAA0E-CCCB-4175-82C0-F0BAA20502E2}">
      <dgm:prSet phldrT="[Text]"/>
      <dgm:spPr/>
      <dgm:t>
        <a:bodyPr/>
        <a:lstStyle/>
        <a:p>
          <a:r>
            <a:rPr lang="en-US" dirty="0" smtClean="0"/>
            <a:t>EDDMapS Pro</a:t>
          </a:r>
          <a:endParaRPr lang="en-US" dirty="0"/>
        </a:p>
      </dgm:t>
    </dgm:pt>
    <dgm:pt modelId="{CA60EAD4-34FB-4AC4-A8ED-3431A23195DD}" type="parTrans" cxnId="{67CCEC7F-7F6B-4B2B-8DA8-C921D1EA3393}">
      <dgm:prSet/>
      <dgm:spPr/>
      <dgm:t>
        <a:bodyPr/>
        <a:lstStyle/>
        <a:p>
          <a:endParaRPr lang="en-US"/>
        </a:p>
      </dgm:t>
    </dgm:pt>
    <dgm:pt modelId="{BA823A1E-21EE-4FA0-9A9D-BACEE2E69E78}" type="sibTrans" cxnId="{67CCEC7F-7F6B-4B2B-8DA8-C921D1EA3393}">
      <dgm:prSet/>
      <dgm:spPr/>
      <dgm:t>
        <a:bodyPr/>
        <a:lstStyle/>
        <a:p>
          <a:endParaRPr lang="en-US"/>
        </a:p>
      </dgm:t>
    </dgm:pt>
    <dgm:pt modelId="{7C9C4B7E-DD37-4ECA-947B-7BF318D6F14A}" type="pres">
      <dgm:prSet presAssocID="{3FF7771C-0DC5-4FDD-915B-E0EFE9C74828}" presName="Name0" presStyleCnt="0">
        <dgm:presLayoutVars>
          <dgm:chMax val="11"/>
          <dgm:chPref val="11"/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3435A614-4453-4191-A434-C35F60D05474}" type="pres">
      <dgm:prSet presAssocID="{D74EAA0E-CCCB-4175-82C0-F0BAA20502E2}" presName="Accent5" presStyleCnt="0"/>
      <dgm:spPr/>
    </dgm:pt>
    <dgm:pt modelId="{56DB4081-3A46-410C-BF72-031F6117B0D9}" type="pres">
      <dgm:prSet presAssocID="{D74EAA0E-CCCB-4175-82C0-F0BAA20502E2}" presName="Accent" presStyleLbl="node1" presStyleIdx="0" presStyleCnt="5"/>
      <dgm:spPr/>
    </dgm:pt>
    <dgm:pt modelId="{F554AA8B-E33B-4070-AFD8-EE8BFF6D26B4}" type="pres">
      <dgm:prSet presAssocID="{D74EAA0E-CCCB-4175-82C0-F0BAA20502E2}" presName="ParentBackground5" presStyleCnt="0"/>
      <dgm:spPr/>
    </dgm:pt>
    <dgm:pt modelId="{F78B8BEC-7021-4188-B678-F8ECF9E10656}" type="pres">
      <dgm:prSet presAssocID="{D74EAA0E-CCCB-4175-82C0-F0BAA20502E2}" presName="ParentBackground" presStyleLbl="fgAcc1" presStyleIdx="0" presStyleCnt="5"/>
      <dgm:spPr/>
      <dgm:t>
        <a:bodyPr/>
        <a:lstStyle/>
        <a:p>
          <a:endParaRPr lang="en-US"/>
        </a:p>
      </dgm:t>
    </dgm:pt>
    <dgm:pt modelId="{502F7B3B-7982-4991-89F9-C7212F402EFA}" type="pres">
      <dgm:prSet presAssocID="{D74EAA0E-CCCB-4175-82C0-F0BAA20502E2}" presName="Parent5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8C2C06-7E89-4F3E-948A-05D6969063DF}" type="pres">
      <dgm:prSet presAssocID="{9ED45744-51AB-496E-8223-7662A6607637}" presName="Accent4" presStyleCnt="0"/>
      <dgm:spPr/>
    </dgm:pt>
    <dgm:pt modelId="{DFE9E2DF-D5E0-4929-A375-B7B4869EB49C}" type="pres">
      <dgm:prSet presAssocID="{9ED45744-51AB-496E-8223-7662A6607637}" presName="Accent" presStyleLbl="node1" presStyleIdx="1" presStyleCnt="5"/>
      <dgm:spPr/>
    </dgm:pt>
    <dgm:pt modelId="{93E69722-B3A8-405B-8D24-57A1721FB11C}" type="pres">
      <dgm:prSet presAssocID="{9ED45744-51AB-496E-8223-7662A6607637}" presName="ParentBackground4" presStyleCnt="0"/>
      <dgm:spPr/>
    </dgm:pt>
    <dgm:pt modelId="{F4DF905B-1D65-44C4-BA71-98247709DF8F}" type="pres">
      <dgm:prSet presAssocID="{9ED45744-51AB-496E-8223-7662A6607637}" presName="ParentBackground" presStyleLbl="fgAcc1" presStyleIdx="1" presStyleCnt="5"/>
      <dgm:spPr/>
      <dgm:t>
        <a:bodyPr/>
        <a:lstStyle/>
        <a:p>
          <a:endParaRPr lang="en-US"/>
        </a:p>
      </dgm:t>
    </dgm:pt>
    <dgm:pt modelId="{15B2F69E-2094-4E21-8B79-9AA7734BDE31}" type="pres">
      <dgm:prSet presAssocID="{9ED45744-51AB-496E-8223-7662A6607637}" presName="Parent4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1A4E66-9C46-4EE7-B221-8D921EE13B6F}" type="pres">
      <dgm:prSet presAssocID="{A25C407C-884D-4176-8E5E-71CD2F99DEC3}" presName="Accent3" presStyleCnt="0"/>
      <dgm:spPr/>
    </dgm:pt>
    <dgm:pt modelId="{076A0E90-3C18-46B1-88CB-1AD716122E16}" type="pres">
      <dgm:prSet presAssocID="{A25C407C-884D-4176-8E5E-71CD2F99DEC3}" presName="Accent" presStyleLbl="node1" presStyleIdx="2" presStyleCnt="5"/>
      <dgm:spPr/>
    </dgm:pt>
    <dgm:pt modelId="{34572C35-B8F2-4F34-A37B-CC6138FAE4D9}" type="pres">
      <dgm:prSet presAssocID="{A25C407C-884D-4176-8E5E-71CD2F99DEC3}" presName="ParentBackground3" presStyleCnt="0"/>
      <dgm:spPr/>
    </dgm:pt>
    <dgm:pt modelId="{76664F28-CC81-4761-B0DB-59C06481966C}" type="pres">
      <dgm:prSet presAssocID="{A25C407C-884D-4176-8E5E-71CD2F99DEC3}" presName="ParentBackground" presStyleLbl="fgAcc1" presStyleIdx="2" presStyleCnt="5"/>
      <dgm:spPr/>
      <dgm:t>
        <a:bodyPr/>
        <a:lstStyle/>
        <a:p>
          <a:endParaRPr lang="en-US"/>
        </a:p>
      </dgm:t>
    </dgm:pt>
    <dgm:pt modelId="{BF343832-D0B4-4FB6-A5D1-0E9417BEB483}" type="pres">
      <dgm:prSet presAssocID="{A25C407C-884D-4176-8E5E-71CD2F99DEC3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4DE7B6-CB1F-4A3E-B916-BEECA901897B}" type="pres">
      <dgm:prSet presAssocID="{A3EBADEA-5B9E-44F0-91C5-828251D41A0F}" presName="Accent2" presStyleCnt="0"/>
      <dgm:spPr/>
    </dgm:pt>
    <dgm:pt modelId="{C6BD4119-014C-4B1B-BF19-0756172E35E0}" type="pres">
      <dgm:prSet presAssocID="{A3EBADEA-5B9E-44F0-91C5-828251D41A0F}" presName="Accent" presStyleLbl="node1" presStyleIdx="3" presStyleCnt="5"/>
      <dgm:spPr/>
    </dgm:pt>
    <dgm:pt modelId="{0CA9BE5F-7236-4EF5-9469-4A908E0539A1}" type="pres">
      <dgm:prSet presAssocID="{A3EBADEA-5B9E-44F0-91C5-828251D41A0F}" presName="ParentBackground2" presStyleCnt="0"/>
      <dgm:spPr/>
    </dgm:pt>
    <dgm:pt modelId="{C8900B9E-54D2-4CCA-93BD-E493B4AC1C62}" type="pres">
      <dgm:prSet presAssocID="{A3EBADEA-5B9E-44F0-91C5-828251D41A0F}" presName="ParentBackground" presStyleLbl="fgAcc1" presStyleIdx="3" presStyleCnt="5"/>
      <dgm:spPr/>
      <dgm:t>
        <a:bodyPr/>
        <a:lstStyle/>
        <a:p>
          <a:endParaRPr lang="en-US"/>
        </a:p>
      </dgm:t>
    </dgm:pt>
    <dgm:pt modelId="{6B0E9301-A88E-4AC9-84B3-65509508B18D}" type="pres">
      <dgm:prSet presAssocID="{A3EBADEA-5B9E-44F0-91C5-828251D41A0F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27B971-EA99-4086-9A9F-D20C6BBF40A3}" type="pres">
      <dgm:prSet presAssocID="{58524CEB-D00C-4AD8-BEBB-DE8F402C592D}" presName="Accent1" presStyleCnt="0"/>
      <dgm:spPr/>
    </dgm:pt>
    <dgm:pt modelId="{726D7243-5910-4263-B965-3418AFE8342F}" type="pres">
      <dgm:prSet presAssocID="{58524CEB-D00C-4AD8-BEBB-DE8F402C592D}" presName="Accent" presStyleLbl="node1" presStyleIdx="4" presStyleCnt="5"/>
      <dgm:spPr/>
    </dgm:pt>
    <dgm:pt modelId="{BA3D2062-413C-4E1A-A58D-8154F47551A3}" type="pres">
      <dgm:prSet presAssocID="{58524CEB-D00C-4AD8-BEBB-DE8F402C592D}" presName="ParentBackground1" presStyleCnt="0"/>
      <dgm:spPr/>
    </dgm:pt>
    <dgm:pt modelId="{715CFFD8-7ABA-4226-8521-6370C1F0E111}" type="pres">
      <dgm:prSet presAssocID="{58524CEB-D00C-4AD8-BEBB-DE8F402C592D}" presName="ParentBackground" presStyleLbl="fgAcc1" presStyleIdx="4" presStyleCnt="5"/>
      <dgm:spPr/>
      <dgm:t>
        <a:bodyPr/>
        <a:lstStyle/>
        <a:p>
          <a:endParaRPr lang="en-US"/>
        </a:p>
      </dgm:t>
    </dgm:pt>
    <dgm:pt modelId="{497EED43-21ED-47F8-B409-2D9D2BD0CBEF}" type="pres">
      <dgm:prSet presAssocID="{58524CEB-D00C-4AD8-BEBB-DE8F402C592D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FF2E072-754C-4367-856D-28F934066FEA}" type="presOf" srcId="{D74EAA0E-CCCB-4175-82C0-F0BAA20502E2}" destId="{502F7B3B-7982-4991-89F9-C7212F402EFA}" srcOrd="1" destOrd="0" presId="urn:microsoft.com/office/officeart/2011/layout/CircleProcess"/>
    <dgm:cxn modelId="{98FB8235-474A-4D43-AA31-7528F8A26D1F}" type="presOf" srcId="{A25C407C-884D-4176-8E5E-71CD2F99DEC3}" destId="{BF343832-D0B4-4FB6-A5D1-0E9417BEB483}" srcOrd="1" destOrd="0" presId="urn:microsoft.com/office/officeart/2011/layout/CircleProcess"/>
    <dgm:cxn modelId="{EFC2F6E2-4ABD-425A-B560-9F03C42E9DB1}" type="presOf" srcId="{A25C407C-884D-4176-8E5E-71CD2F99DEC3}" destId="{76664F28-CC81-4761-B0DB-59C06481966C}" srcOrd="0" destOrd="0" presId="urn:microsoft.com/office/officeart/2011/layout/CircleProcess"/>
    <dgm:cxn modelId="{200CCCA1-1F30-484E-A502-89FEF8584101}" srcId="{3FF7771C-0DC5-4FDD-915B-E0EFE9C74828}" destId="{A3EBADEA-5B9E-44F0-91C5-828251D41A0F}" srcOrd="1" destOrd="0" parTransId="{39F7BA5F-0BD4-49D0-BCEB-476864B88F86}" sibTransId="{D51920BA-CA41-4E69-B6EB-F576D397A1BD}"/>
    <dgm:cxn modelId="{E2E1AE4E-B278-48DA-AE45-05D994C2048A}" type="presOf" srcId="{9ED45744-51AB-496E-8223-7662A6607637}" destId="{F4DF905B-1D65-44C4-BA71-98247709DF8F}" srcOrd="0" destOrd="0" presId="urn:microsoft.com/office/officeart/2011/layout/CircleProcess"/>
    <dgm:cxn modelId="{0A7CAB54-DB2C-4085-B8D7-E0838EE887EE}" type="presOf" srcId="{A3EBADEA-5B9E-44F0-91C5-828251D41A0F}" destId="{C8900B9E-54D2-4CCA-93BD-E493B4AC1C62}" srcOrd="0" destOrd="0" presId="urn:microsoft.com/office/officeart/2011/layout/CircleProcess"/>
    <dgm:cxn modelId="{A9255A7E-1C7B-45C3-87E2-5397F6282422}" type="presOf" srcId="{D74EAA0E-CCCB-4175-82C0-F0BAA20502E2}" destId="{F78B8BEC-7021-4188-B678-F8ECF9E10656}" srcOrd="0" destOrd="0" presId="urn:microsoft.com/office/officeart/2011/layout/CircleProcess"/>
    <dgm:cxn modelId="{2082F2A7-EC12-4B28-9E9A-91DCE3B6D651}" type="presOf" srcId="{A3EBADEA-5B9E-44F0-91C5-828251D41A0F}" destId="{6B0E9301-A88E-4AC9-84B3-65509508B18D}" srcOrd="1" destOrd="0" presId="urn:microsoft.com/office/officeart/2011/layout/CircleProcess"/>
    <dgm:cxn modelId="{1B67E800-0875-47B3-9FAD-D2D7EBFBD431}" type="presOf" srcId="{3FF7771C-0DC5-4FDD-915B-E0EFE9C74828}" destId="{7C9C4B7E-DD37-4ECA-947B-7BF318D6F14A}" srcOrd="0" destOrd="0" presId="urn:microsoft.com/office/officeart/2011/layout/CircleProcess"/>
    <dgm:cxn modelId="{67CCEC7F-7F6B-4B2B-8DA8-C921D1EA3393}" srcId="{3FF7771C-0DC5-4FDD-915B-E0EFE9C74828}" destId="{D74EAA0E-CCCB-4175-82C0-F0BAA20502E2}" srcOrd="4" destOrd="0" parTransId="{CA60EAD4-34FB-4AC4-A8ED-3431A23195DD}" sibTransId="{BA823A1E-21EE-4FA0-9A9D-BACEE2E69E78}"/>
    <dgm:cxn modelId="{22185D8A-1681-4D0A-8EC3-F30F46DCEA2B}" type="presOf" srcId="{58524CEB-D00C-4AD8-BEBB-DE8F402C592D}" destId="{497EED43-21ED-47F8-B409-2D9D2BD0CBEF}" srcOrd="1" destOrd="0" presId="urn:microsoft.com/office/officeart/2011/layout/CircleProcess"/>
    <dgm:cxn modelId="{4997767A-3BC4-44E2-81D0-86B9404C8605}" srcId="{3FF7771C-0DC5-4FDD-915B-E0EFE9C74828}" destId="{A25C407C-884D-4176-8E5E-71CD2F99DEC3}" srcOrd="2" destOrd="0" parTransId="{15374A87-ECA5-4E39-96A0-0B0DE339FC42}" sibTransId="{34C94B10-053C-49BE-AC5F-8B0FB99CF723}"/>
    <dgm:cxn modelId="{B6152D7C-4155-4053-9C66-46218C0E2A67}" type="presOf" srcId="{9ED45744-51AB-496E-8223-7662A6607637}" destId="{15B2F69E-2094-4E21-8B79-9AA7734BDE31}" srcOrd="1" destOrd="0" presId="urn:microsoft.com/office/officeart/2011/layout/CircleProcess"/>
    <dgm:cxn modelId="{22AB7521-2CAA-437B-92DD-587B8D193412}" srcId="{3FF7771C-0DC5-4FDD-915B-E0EFE9C74828}" destId="{9ED45744-51AB-496E-8223-7662A6607637}" srcOrd="3" destOrd="0" parTransId="{AE16746A-BA09-42B1-8C14-65AAEF1DAFC1}" sibTransId="{D6A09E74-DD12-4BE8-8D2B-8EF2989E9BF5}"/>
    <dgm:cxn modelId="{068EB50B-3235-4C2D-ADB5-9278CB7D78EA}" type="presOf" srcId="{58524CEB-D00C-4AD8-BEBB-DE8F402C592D}" destId="{715CFFD8-7ABA-4226-8521-6370C1F0E111}" srcOrd="0" destOrd="0" presId="urn:microsoft.com/office/officeart/2011/layout/CircleProcess"/>
    <dgm:cxn modelId="{FC839416-3D70-4473-92C1-66B8533F24F7}" srcId="{3FF7771C-0DC5-4FDD-915B-E0EFE9C74828}" destId="{58524CEB-D00C-4AD8-BEBB-DE8F402C592D}" srcOrd="0" destOrd="0" parTransId="{52EB990D-D8F3-4BE0-BCBA-A76DBA8F8B9B}" sibTransId="{EB1EF4B1-B00F-4497-BE55-407813DB87F1}"/>
    <dgm:cxn modelId="{7DB0DF63-FB0A-4A6C-ADFD-597125D970F5}" type="presParOf" srcId="{7C9C4B7E-DD37-4ECA-947B-7BF318D6F14A}" destId="{3435A614-4453-4191-A434-C35F60D05474}" srcOrd="0" destOrd="0" presId="urn:microsoft.com/office/officeart/2011/layout/CircleProcess"/>
    <dgm:cxn modelId="{19280D41-BBCF-43E8-A4AD-AC8C56B5B5BF}" type="presParOf" srcId="{3435A614-4453-4191-A434-C35F60D05474}" destId="{56DB4081-3A46-410C-BF72-031F6117B0D9}" srcOrd="0" destOrd="0" presId="urn:microsoft.com/office/officeart/2011/layout/CircleProcess"/>
    <dgm:cxn modelId="{E1F8EC9A-2BBA-499E-AD6C-96D021F4960C}" type="presParOf" srcId="{7C9C4B7E-DD37-4ECA-947B-7BF318D6F14A}" destId="{F554AA8B-E33B-4070-AFD8-EE8BFF6D26B4}" srcOrd="1" destOrd="0" presId="urn:microsoft.com/office/officeart/2011/layout/CircleProcess"/>
    <dgm:cxn modelId="{C567E52B-33BB-480B-8AB9-0562DEE50685}" type="presParOf" srcId="{F554AA8B-E33B-4070-AFD8-EE8BFF6D26B4}" destId="{F78B8BEC-7021-4188-B678-F8ECF9E10656}" srcOrd="0" destOrd="0" presId="urn:microsoft.com/office/officeart/2011/layout/CircleProcess"/>
    <dgm:cxn modelId="{2951777A-A81E-44F4-A85E-00A184603A61}" type="presParOf" srcId="{7C9C4B7E-DD37-4ECA-947B-7BF318D6F14A}" destId="{502F7B3B-7982-4991-89F9-C7212F402EFA}" srcOrd="2" destOrd="0" presId="urn:microsoft.com/office/officeart/2011/layout/CircleProcess"/>
    <dgm:cxn modelId="{A9433D02-F360-4154-A54D-1F3BC2758547}" type="presParOf" srcId="{7C9C4B7E-DD37-4ECA-947B-7BF318D6F14A}" destId="{C98C2C06-7E89-4F3E-948A-05D6969063DF}" srcOrd="3" destOrd="0" presId="urn:microsoft.com/office/officeart/2011/layout/CircleProcess"/>
    <dgm:cxn modelId="{4339A2FB-95F4-4F17-ABAA-501FCB0129AA}" type="presParOf" srcId="{C98C2C06-7E89-4F3E-948A-05D6969063DF}" destId="{DFE9E2DF-D5E0-4929-A375-B7B4869EB49C}" srcOrd="0" destOrd="0" presId="urn:microsoft.com/office/officeart/2011/layout/CircleProcess"/>
    <dgm:cxn modelId="{070C23AE-DAC0-4982-9223-EEEB73708114}" type="presParOf" srcId="{7C9C4B7E-DD37-4ECA-947B-7BF318D6F14A}" destId="{93E69722-B3A8-405B-8D24-57A1721FB11C}" srcOrd="4" destOrd="0" presId="urn:microsoft.com/office/officeart/2011/layout/CircleProcess"/>
    <dgm:cxn modelId="{FEC774FE-E897-453E-93CB-006D6BF87247}" type="presParOf" srcId="{93E69722-B3A8-405B-8D24-57A1721FB11C}" destId="{F4DF905B-1D65-44C4-BA71-98247709DF8F}" srcOrd="0" destOrd="0" presId="urn:microsoft.com/office/officeart/2011/layout/CircleProcess"/>
    <dgm:cxn modelId="{6E3D1B3E-FB74-41C3-B8EE-6C85C5AE57FE}" type="presParOf" srcId="{7C9C4B7E-DD37-4ECA-947B-7BF318D6F14A}" destId="{15B2F69E-2094-4E21-8B79-9AA7734BDE31}" srcOrd="5" destOrd="0" presId="urn:microsoft.com/office/officeart/2011/layout/CircleProcess"/>
    <dgm:cxn modelId="{C91027FB-80C8-4DD2-B62C-AD3CD126139B}" type="presParOf" srcId="{7C9C4B7E-DD37-4ECA-947B-7BF318D6F14A}" destId="{BC1A4E66-9C46-4EE7-B221-8D921EE13B6F}" srcOrd="6" destOrd="0" presId="urn:microsoft.com/office/officeart/2011/layout/CircleProcess"/>
    <dgm:cxn modelId="{C2DE847E-E1A1-4D19-8610-FD6288E28040}" type="presParOf" srcId="{BC1A4E66-9C46-4EE7-B221-8D921EE13B6F}" destId="{076A0E90-3C18-46B1-88CB-1AD716122E16}" srcOrd="0" destOrd="0" presId="urn:microsoft.com/office/officeart/2011/layout/CircleProcess"/>
    <dgm:cxn modelId="{B1D7B752-0355-491D-9D7F-A96981055F5D}" type="presParOf" srcId="{7C9C4B7E-DD37-4ECA-947B-7BF318D6F14A}" destId="{34572C35-B8F2-4F34-A37B-CC6138FAE4D9}" srcOrd="7" destOrd="0" presId="urn:microsoft.com/office/officeart/2011/layout/CircleProcess"/>
    <dgm:cxn modelId="{6A241A5E-A5E2-46D9-B34E-9711B68698A6}" type="presParOf" srcId="{34572C35-B8F2-4F34-A37B-CC6138FAE4D9}" destId="{76664F28-CC81-4761-B0DB-59C06481966C}" srcOrd="0" destOrd="0" presId="urn:microsoft.com/office/officeart/2011/layout/CircleProcess"/>
    <dgm:cxn modelId="{9064F944-2382-4C4D-8167-C74FD516E42F}" type="presParOf" srcId="{7C9C4B7E-DD37-4ECA-947B-7BF318D6F14A}" destId="{BF343832-D0B4-4FB6-A5D1-0E9417BEB483}" srcOrd="8" destOrd="0" presId="urn:microsoft.com/office/officeart/2011/layout/CircleProcess"/>
    <dgm:cxn modelId="{AB425B28-B38B-43BF-BFA2-CCE076064312}" type="presParOf" srcId="{7C9C4B7E-DD37-4ECA-947B-7BF318D6F14A}" destId="{C44DE7B6-CB1F-4A3E-B916-BEECA901897B}" srcOrd="9" destOrd="0" presId="urn:microsoft.com/office/officeart/2011/layout/CircleProcess"/>
    <dgm:cxn modelId="{CA636BE2-AED3-4F7B-B044-48CCFE270E13}" type="presParOf" srcId="{C44DE7B6-CB1F-4A3E-B916-BEECA901897B}" destId="{C6BD4119-014C-4B1B-BF19-0756172E35E0}" srcOrd="0" destOrd="0" presId="urn:microsoft.com/office/officeart/2011/layout/CircleProcess"/>
    <dgm:cxn modelId="{D8D286AE-1907-400B-BA9F-D1F7281AA383}" type="presParOf" srcId="{7C9C4B7E-DD37-4ECA-947B-7BF318D6F14A}" destId="{0CA9BE5F-7236-4EF5-9469-4A908E0539A1}" srcOrd="10" destOrd="0" presId="urn:microsoft.com/office/officeart/2011/layout/CircleProcess"/>
    <dgm:cxn modelId="{1C63429F-846A-4F26-A2DB-00BDC0FBBF93}" type="presParOf" srcId="{0CA9BE5F-7236-4EF5-9469-4A908E0539A1}" destId="{C8900B9E-54D2-4CCA-93BD-E493B4AC1C62}" srcOrd="0" destOrd="0" presId="urn:microsoft.com/office/officeart/2011/layout/CircleProcess"/>
    <dgm:cxn modelId="{C1BE9A79-B57B-4930-AA52-330C52067884}" type="presParOf" srcId="{7C9C4B7E-DD37-4ECA-947B-7BF318D6F14A}" destId="{6B0E9301-A88E-4AC9-84B3-65509508B18D}" srcOrd="11" destOrd="0" presId="urn:microsoft.com/office/officeart/2011/layout/CircleProcess"/>
    <dgm:cxn modelId="{1759C4E2-12F3-4233-ABA5-7655F40B0047}" type="presParOf" srcId="{7C9C4B7E-DD37-4ECA-947B-7BF318D6F14A}" destId="{1127B971-EA99-4086-9A9F-D20C6BBF40A3}" srcOrd="12" destOrd="0" presId="urn:microsoft.com/office/officeart/2011/layout/CircleProcess"/>
    <dgm:cxn modelId="{11A55507-8A03-44A9-8907-94768BD7D95B}" type="presParOf" srcId="{1127B971-EA99-4086-9A9F-D20C6BBF40A3}" destId="{726D7243-5910-4263-B965-3418AFE8342F}" srcOrd="0" destOrd="0" presId="urn:microsoft.com/office/officeart/2011/layout/CircleProcess"/>
    <dgm:cxn modelId="{7F98E710-ECF9-452D-8421-131CE24BA4C5}" type="presParOf" srcId="{7C9C4B7E-DD37-4ECA-947B-7BF318D6F14A}" destId="{BA3D2062-413C-4E1A-A58D-8154F47551A3}" srcOrd="13" destOrd="0" presId="urn:microsoft.com/office/officeart/2011/layout/CircleProcess"/>
    <dgm:cxn modelId="{AEC818DE-69E0-413E-B6D0-A5E6BE09FAC3}" type="presParOf" srcId="{BA3D2062-413C-4E1A-A58D-8154F47551A3}" destId="{715CFFD8-7ABA-4226-8521-6370C1F0E111}" srcOrd="0" destOrd="0" presId="urn:microsoft.com/office/officeart/2011/layout/CircleProcess"/>
    <dgm:cxn modelId="{A1C85C50-DD73-4475-98C5-ACE9CE466137}" type="presParOf" srcId="{7C9C4B7E-DD37-4ECA-947B-7BF318D6F14A}" destId="{497EED43-21ED-47F8-B409-2D9D2BD0CBEF}" srcOrd="14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EEA70-2DD0-5242-9F4B-FCF0157721A5}">
      <dsp:nvSpPr>
        <dsp:cNvPr id="0" name=""/>
        <dsp:cNvSpPr/>
      </dsp:nvSpPr>
      <dsp:spPr>
        <a:xfrm>
          <a:off x="7897259" y="2800476"/>
          <a:ext cx="1599679" cy="79983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solidFill>
                <a:schemeClr val="tx1"/>
              </a:solidFill>
            </a:rPr>
            <a:t>New Report</a:t>
          </a:r>
        </a:p>
      </dsp:txBody>
      <dsp:txXfrm>
        <a:off x="7920685" y="2823902"/>
        <a:ext cx="1552827" cy="752987"/>
      </dsp:txXfrm>
    </dsp:sp>
    <dsp:sp modelId="{F8777F46-2F08-6641-984E-094EE2BFEEE1}">
      <dsp:nvSpPr>
        <dsp:cNvPr id="0" name=""/>
        <dsp:cNvSpPr/>
      </dsp:nvSpPr>
      <dsp:spPr>
        <a:xfrm rot="14399015">
          <a:off x="6680890" y="2486975"/>
          <a:ext cx="1621558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1621558" y="11381"/>
              </a:lnTo>
            </a:path>
          </a:pathLst>
        </a:custGeom>
        <a:noFill/>
        <a:ln w="12700" cap="flat" cmpd="sng" algn="ctr">
          <a:solidFill>
            <a:schemeClr val="accent2"/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 rot="10800000">
        <a:off x="7451130" y="2457818"/>
        <a:ext cx="81077" cy="81077"/>
      </dsp:txXfrm>
    </dsp:sp>
    <dsp:sp modelId="{36CD2B8C-99A0-CC41-8401-08769ED4AD9C}">
      <dsp:nvSpPr>
        <dsp:cNvPr id="0" name=""/>
        <dsp:cNvSpPr/>
      </dsp:nvSpPr>
      <dsp:spPr>
        <a:xfrm>
          <a:off x="5486399" y="1396398"/>
          <a:ext cx="1599679" cy="799839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solidFill>
                <a:schemeClr val="tx1"/>
              </a:solidFill>
            </a:rPr>
            <a:t>Single Reports</a:t>
          </a:r>
        </a:p>
      </dsp:txBody>
      <dsp:txXfrm>
        <a:off x="5509825" y="1419824"/>
        <a:ext cx="1552827" cy="752987"/>
      </dsp:txXfrm>
    </dsp:sp>
    <dsp:sp modelId="{7CF2B8CE-009F-B942-A888-0330C8566634}">
      <dsp:nvSpPr>
        <dsp:cNvPr id="0" name=""/>
        <dsp:cNvSpPr/>
      </dsp:nvSpPr>
      <dsp:spPr>
        <a:xfrm rot="13443890">
          <a:off x="3764731" y="1088203"/>
          <a:ext cx="2003624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2003624" y="11381"/>
              </a:lnTo>
            </a:path>
          </a:pathLst>
        </a:custGeom>
        <a:noFill/>
        <a:ln w="127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10800000">
        <a:off x="4716453" y="1049495"/>
        <a:ext cx="100181" cy="100181"/>
      </dsp:txXfrm>
    </dsp:sp>
    <dsp:sp modelId="{B69C7459-EB00-394A-AF0E-5F96FF99B8FF}">
      <dsp:nvSpPr>
        <dsp:cNvPr id="0" name=""/>
        <dsp:cNvSpPr/>
      </dsp:nvSpPr>
      <dsp:spPr>
        <a:xfrm>
          <a:off x="2447009" y="2933"/>
          <a:ext cx="1599679" cy="799839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solidFill>
                <a:schemeClr val="tx1"/>
              </a:solidFill>
            </a:rPr>
            <a:t>Web Forms</a:t>
          </a:r>
        </a:p>
      </dsp:txBody>
      <dsp:txXfrm>
        <a:off x="2470435" y="26359"/>
        <a:ext cx="1552827" cy="752987"/>
      </dsp:txXfrm>
    </dsp:sp>
    <dsp:sp modelId="{940417C7-F1CC-D141-B312-D9F73101A070}">
      <dsp:nvSpPr>
        <dsp:cNvPr id="0" name=""/>
        <dsp:cNvSpPr/>
      </dsp:nvSpPr>
      <dsp:spPr>
        <a:xfrm rot="11892638">
          <a:off x="4008732" y="1548111"/>
          <a:ext cx="1515622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1515622" y="11381"/>
              </a:lnTo>
            </a:path>
          </a:pathLst>
        </a:custGeom>
        <a:noFill/>
        <a:ln w="127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4728653" y="1521602"/>
        <a:ext cx="75781" cy="75781"/>
      </dsp:txXfrm>
    </dsp:sp>
    <dsp:sp modelId="{67B08EC8-2AA7-5D40-BB57-49059FC7754E}">
      <dsp:nvSpPr>
        <dsp:cNvPr id="0" name=""/>
        <dsp:cNvSpPr/>
      </dsp:nvSpPr>
      <dsp:spPr>
        <a:xfrm>
          <a:off x="2447009" y="922749"/>
          <a:ext cx="1599679" cy="799839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solidFill>
                <a:schemeClr val="tx1"/>
              </a:solidFill>
            </a:rPr>
            <a:t>Smartphone Apps</a:t>
          </a:r>
        </a:p>
      </dsp:txBody>
      <dsp:txXfrm>
        <a:off x="2470435" y="946175"/>
        <a:ext cx="1552827" cy="752987"/>
      </dsp:txXfrm>
    </dsp:sp>
    <dsp:sp modelId="{5441D79C-5AD1-6845-9D4D-68A5FAC518E1}">
      <dsp:nvSpPr>
        <dsp:cNvPr id="0" name=""/>
        <dsp:cNvSpPr/>
      </dsp:nvSpPr>
      <dsp:spPr>
        <a:xfrm rot="9766907">
          <a:off x="4012913" y="2008019"/>
          <a:ext cx="1507260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1507260" y="11381"/>
              </a:lnTo>
            </a:path>
          </a:pathLst>
        </a:custGeom>
        <a:noFill/>
        <a:ln w="127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4728862" y="1981719"/>
        <a:ext cx="75363" cy="75363"/>
      </dsp:txXfrm>
    </dsp:sp>
    <dsp:sp modelId="{902E0583-CDD0-1B42-B5DA-5C52366AEB5A}">
      <dsp:nvSpPr>
        <dsp:cNvPr id="0" name=""/>
        <dsp:cNvSpPr/>
      </dsp:nvSpPr>
      <dsp:spPr>
        <a:xfrm>
          <a:off x="2447009" y="1842564"/>
          <a:ext cx="1599679" cy="799839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solidFill>
                <a:schemeClr val="tx1"/>
              </a:solidFill>
            </a:rPr>
            <a:t>Embedded Web Forms</a:t>
          </a:r>
        </a:p>
      </dsp:txBody>
      <dsp:txXfrm>
        <a:off x="2470435" y="1865990"/>
        <a:ext cx="1552827" cy="752987"/>
      </dsp:txXfrm>
    </dsp:sp>
    <dsp:sp modelId="{5954F0F4-C38E-F84D-A58F-D1E547033822}">
      <dsp:nvSpPr>
        <dsp:cNvPr id="0" name=""/>
        <dsp:cNvSpPr/>
      </dsp:nvSpPr>
      <dsp:spPr>
        <a:xfrm rot="8190318">
          <a:off x="3774239" y="2467927"/>
          <a:ext cx="1984609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1984609" y="11381"/>
              </a:lnTo>
            </a:path>
          </a:pathLst>
        </a:custGeom>
        <a:noFill/>
        <a:ln w="127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10800000">
        <a:off x="4716928" y="2429693"/>
        <a:ext cx="99230" cy="99230"/>
      </dsp:txXfrm>
    </dsp:sp>
    <dsp:sp modelId="{1D4D2001-07E3-1D48-AF4F-E1253E2697A7}">
      <dsp:nvSpPr>
        <dsp:cNvPr id="0" name=""/>
        <dsp:cNvSpPr/>
      </dsp:nvSpPr>
      <dsp:spPr>
        <a:xfrm>
          <a:off x="2447009" y="2762380"/>
          <a:ext cx="1599679" cy="799839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solidFill>
                <a:schemeClr val="tx1"/>
              </a:solidFill>
            </a:rPr>
            <a:t>Reporting API</a:t>
          </a:r>
        </a:p>
      </dsp:txBody>
      <dsp:txXfrm>
        <a:off x="2470435" y="2785806"/>
        <a:ext cx="1552827" cy="752987"/>
      </dsp:txXfrm>
    </dsp:sp>
    <dsp:sp modelId="{7DC07589-024E-9349-B38A-888B02D4CBD1}">
      <dsp:nvSpPr>
        <dsp:cNvPr id="0" name=""/>
        <dsp:cNvSpPr/>
      </dsp:nvSpPr>
      <dsp:spPr>
        <a:xfrm rot="6875237">
          <a:off x="6516877" y="4075420"/>
          <a:ext cx="1949584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1949584" y="11381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10800000">
        <a:off x="7442929" y="4038062"/>
        <a:ext cx="97479" cy="97479"/>
      </dsp:txXfrm>
    </dsp:sp>
    <dsp:sp modelId="{17B50BD4-4FCC-3B4B-903B-3E5D2672D128}">
      <dsp:nvSpPr>
        <dsp:cNvPr id="0" name=""/>
        <dsp:cNvSpPr/>
      </dsp:nvSpPr>
      <dsp:spPr>
        <a:xfrm>
          <a:off x="5486399" y="4573288"/>
          <a:ext cx="1599679" cy="79983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solidFill>
                <a:schemeClr val="tx1"/>
              </a:solidFill>
            </a:rPr>
            <a:t>Bulk Data</a:t>
          </a:r>
        </a:p>
      </dsp:txBody>
      <dsp:txXfrm>
        <a:off x="5509825" y="4596714"/>
        <a:ext cx="1552827" cy="752987"/>
      </dsp:txXfrm>
    </dsp:sp>
    <dsp:sp modelId="{9D33C54A-7F5D-CC47-8940-D2B3953BCD86}">
      <dsp:nvSpPr>
        <dsp:cNvPr id="0" name=""/>
        <dsp:cNvSpPr/>
      </dsp:nvSpPr>
      <dsp:spPr>
        <a:xfrm rot="12705299">
          <a:off x="3919960" y="4516280"/>
          <a:ext cx="1693167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1693167" y="11381"/>
              </a:lnTo>
            </a:path>
          </a:pathLst>
        </a:custGeom>
        <a:noFill/>
        <a:ln w="127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 rot="10800000">
        <a:off x="4724214" y="4485332"/>
        <a:ext cx="84658" cy="84658"/>
      </dsp:txXfrm>
    </dsp:sp>
    <dsp:sp modelId="{52A2FD0F-3617-494C-9C35-9DE8D0703D29}">
      <dsp:nvSpPr>
        <dsp:cNvPr id="0" name=""/>
        <dsp:cNvSpPr/>
      </dsp:nvSpPr>
      <dsp:spPr>
        <a:xfrm>
          <a:off x="2447009" y="3682195"/>
          <a:ext cx="1599679" cy="799839"/>
        </a:xfrm>
        <a:prstGeom prst="roundRect">
          <a:avLst>
            <a:gd name="adj" fmla="val 10000"/>
          </a:avLst>
        </a:prstGeom>
        <a:solidFill>
          <a:schemeClr val="bg2">
            <a:lumMod val="40000"/>
            <a:lumOff val="60000"/>
          </a:schemeClr>
        </a:solidFill>
        <a:ln>
          <a:solidFill>
            <a:schemeClr val="accent1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solidFill>
                <a:schemeClr val="tx1"/>
              </a:solidFill>
            </a:rPr>
            <a:t>One Time Dumps</a:t>
          </a:r>
        </a:p>
      </dsp:txBody>
      <dsp:txXfrm>
        <a:off x="2470435" y="3705621"/>
        <a:ext cx="1552827" cy="752987"/>
      </dsp:txXfrm>
    </dsp:sp>
    <dsp:sp modelId="{E090A8BB-9160-6D47-8760-0743085B67EE}">
      <dsp:nvSpPr>
        <dsp:cNvPr id="0" name=""/>
        <dsp:cNvSpPr/>
      </dsp:nvSpPr>
      <dsp:spPr>
        <a:xfrm rot="10731426">
          <a:off x="4046545" y="4976188"/>
          <a:ext cx="1439997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1439997" y="11381"/>
              </a:lnTo>
            </a:path>
          </a:pathLst>
        </a:custGeom>
        <a:noFill/>
        <a:ln w="127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4730543" y="4951569"/>
        <a:ext cx="71999" cy="71999"/>
      </dsp:txXfrm>
    </dsp:sp>
    <dsp:sp modelId="{F105AE0F-302C-854F-BE92-46037C6103ED}">
      <dsp:nvSpPr>
        <dsp:cNvPr id="0" name=""/>
        <dsp:cNvSpPr/>
      </dsp:nvSpPr>
      <dsp:spPr>
        <a:xfrm>
          <a:off x="2447009" y="4602011"/>
          <a:ext cx="1599679" cy="799839"/>
        </a:xfrm>
        <a:prstGeom prst="roundRect">
          <a:avLst>
            <a:gd name="adj" fmla="val 10000"/>
          </a:avLst>
        </a:prstGeom>
        <a:solidFill>
          <a:schemeClr val="bg2">
            <a:lumMod val="40000"/>
            <a:lumOff val="60000"/>
          </a:schemeClr>
        </a:solidFill>
        <a:ln>
          <a:solidFill>
            <a:schemeClr val="accent1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solidFill>
                <a:schemeClr val="tx1"/>
              </a:solidFill>
            </a:rPr>
            <a:t>Data Sharing Partners</a:t>
          </a:r>
        </a:p>
      </dsp:txBody>
      <dsp:txXfrm>
        <a:off x="2470435" y="4625437"/>
        <a:ext cx="1552827" cy="752987"/>
      </dsp:txXfrm>
    </dsp:sp>
    <dsp:sp modelId="{CCD76BBE-16BA-3447-AF15-03F3441B55AD}">
      <dsp:nvSpPr>
        <dsp:cNvPr id="0" name=""/>
        <dsp:cNvSpPr/>
      </dsp:nvSpPr>
      <dsp:spPr>
        <a:xfrm rot="8797293">
          <a:off x="3904498" y="5436095"/>
          <a:ext cx="1724091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1724091" y="11381"/>
              </a:lnTo>
            </a:path>
          </a:pathLst>
        </a:custGeom>
        <a:noFill/>
        <a:ln w="127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 rot="10800000">
        <a:off x="4723441" y="5404375"/>
        <a:ext cx="86204" cy="86204"/>
      </dsp:txXfrm>
    </dsp:sp>
    <dsp:sp modelId="{24B83D71-5D91-0247-80A8-8B1C991ECC40}">
      <dsp:nvSpPr>
        <dsp:cNvPr id="0" name=""/>
        <dsp:cNvSpPr/>
      </dsp:nvSpPr>
      <dsp:spPr>
        <a:xfrm>
          <a:off x="2447009" y="5521826"/>
          <a:ext cx="1599679" cy="799839"/>
        </a:xfrm>
        <a:prstGeom prst="roundRect">
          <a:avLst>
            <a:gd name="adj" fmla="val 10000"/>
          </a:avLst>
        </a:prstGeom>
        <a:solidFill>
          <a:schemeClr val="bg2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>
              <a:solidFill>
                <a:schemeClr val="tx1"/>
              </a:solidFill>
            </a:rPr>
            <a:t>GISIN Mirror</a:t>
          </a:r>
        </a:p>
      </dsp:txBody>
      <dsp:txXfrm>
        <a:off x="2470435" y="5545252"/>
        <a:ext cx="1552827" cy="7529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142F21-9BD1-9946-AFB8-62FFCF2C26FF}">
      <dsp:nvSpPr>
        <dsp:cNvPr id="0" name=""/>
        <dsp:cNvSpPr/>
      </dsp:nvSpPr>
      <dsp:spPr>
        <a:xfrm>
          <a:off x="0" y="1524000"/>
          <a:ext cx="1610320" cy="80516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New Report</a:t>
          </a:r>
        </a:p>
      </dsp:txBody>
      <dsp:txXfrm>
        <a:off x="23582" y="1547582"/>
        <a:ext cx="1563156" cy="757996"/>
      </dsp:txXfrm>
    </dsp:sp>
    <dsp:sp modelId="{E8ECA722-F300-F74A-99EE-331F00A0DB12}">
      <dsp:nvSpPr>
        <dsp:cNvPr id="0" name=""/>
        <dsp:cNvSpPr/>
      </dsp:nvSpPr>
      <dsp:spPr>
        <a:xfrm rot="18238682">
          <a:off x="1354467" y="1433727"/>
          <a:ext cx="1160000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1160000" y="11887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905467" y="1416614"/>
        <a:ext cx="58000" cy="58000"/>
      </dsp:txXfrm>
    </dsp:sp>
    <dsp:sp modelId="{1EDCABFC-12D5-954E-8ECE-685F981B3D5D}">
      <dsp:nvSpPr>
        <dsp:cNvPr id="0" name=""/>
        <dsp:cNvSpPr/>
      </dsp:nvSpPr>
      <dsp:spPr>
        <a:xfrm>
          <a:off x="2258615" y="562068"/>
          <a:ext cx="1610320" cy="80516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Regulated</a:t>
          </a:r>
        </a:p>
      </dsp:txBody>
      <dsp:txXfrm>
        <a:off x="2282197" y="585650"/>
        <a:ext cx="1563156" cy="757996"/>
      </dsp:txXfrm>
    </dsp:sp>
    <dsp:sp modelId="{E9F0BD4E-8005-5E45-8C35-639AE4939F64}">
      <dsp:nvSpPr>
        <dsp:cNvPr id="0" name=""/>
        <dsp:cNvSpPr/>
      </dsp:nvSpPr>
      <dsp:spPr>
        <a:xfrm rot="19457599">
          <a:off x="3794376" y="721277"/>
          <a:ext cx="793246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793246" y="11887"/>
              </a:lnTo>
            </a:path>
          </a:pathLst>
        </a:custGeom>
        <a:noFill/>
        <a:ln w="127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171168" y="713333"/>
        <a:ext cx="39662" cy="39662"/>
      </dsp:txXfrm>
    </dsp:sp>
    <dsp:sp modelId="{A786F87B-AFDF-EE49-8057-16F3F6CE3994}">
      <dsp:nvSpPr>
        <dsp:cNvPr id="0" name=""/>
        <dsp:cNvSpPr/>
      </dsp:nvSpPr>
      <dsp:spPr>
        <a:xfrm>
          <a:off x="4513064" y="99100"/>
          <a:ext cx="1610320" cy="805160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State Agency Contact</a:t>
          </a:r>
        </a:p>
      </dsp:txBody>
      <dsp:txXfrm>
        <a:off x="4536646" y="122682"/>
        <a:ext cx="1563156" cy="757996"/>
      </dsp:txXfrm>
    </dsp:sp>
    <dsp:sp modelId="{78ACF44E-DE7A-DC43-9D83-12BC3666F53A}">
      <dsp:nvSpPr>
        <dsp:cNvPr id="0" name=""/>
        <dsp:cNvSpPr/>
      </dsp:nvSpPr>
      <dsp:spPr>
        <a:xfrm rot="2142401">
          <a:off x="3794376" y="1184244"/>
          <a:ext cx="793246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793246" y="11887"/>
              </a:lnTo>
            </a:path>
          </a:pathLst>
        </a:custGeom>
        <a:noFill/>
        <a:ln w="127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171168" y="1176300"/>
        <a:ext cx="39662" cy="39662"/>
      </dsp:txXfrm>
    </dsp:sp>
    <dsp:sp modelId="{6A6FE0C5-E01E-9C48-BAB4-744A6899D9AA}">
      <dsp:nvSpPr>
        <dsp:cNvPr id="0" name=""/>
        <dsp:cNvSpPr/>
      </dsp:nvSpPr>
      <dsp:spPr>
        <a:xfrm>
          <a:off x="4513064" y="1025035"/>
          <a:ext cx="1610320" cy="805160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Federal Agency Contact</a:t>
          </a:r>
        </a:p>
      </dsp:txBody>
      <dsp:txXfrm>
        <a:off x="4536646" y="1048617"/>
        <a:ext cx="1563156" cy="757996"/>
      </dsp:txXfrm>
    </dsp:sp>
    <dsp:sp modelId="{535CB6CD-6A72-914C-870C-6A68994EAA97}">
      <dsp:nvSpPr>
        <dsp:cNvPr id="0" name=""/>
        <dsp:cNvSpPr/>
      </dsp:nvSpPr>
      <dsp:spPr>
        <a:xfrm rot="4300602">
          <a:off x="1122800" y="2589703"/>
          <a:ext cx="1422125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1422125" y="11887"/>
              </a:lnTo>
            </a:path>
          </a:pathLst>
        </a:custGeom>
        <a:noFill/>
        <a:ln w="12700" cap="flat" cmpd="sng" algn="ctr">
          <a:solidFill>
            <a:schemeClr val="accent1"/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798310" y="2566037"/>
        <a:ext cx="71106" cy="71106"/>
      </dsp:txXfrm>
    </dsp:sp>
    <dsp:sp modelId="{2CC5F069-FE26-274E-939A-2408CA3CAA46}">
      <dsp:nvSpPr>
        <dsp:cNvPr id="0" name=""/>
        <dsp:cNvSpPr/>
      </dsp:nvSpPr>
      <dsp:spPr>
        <a:xfrm>
          <a:off x="2057406" y="2874020"/>
          <a:ext cx="1610320" cy="805160"/>
        </a:xfrm>
        <a:prstGeom prst="roundRect">
          <a:avLst>
            <a:gd name="adj" fmla="val 10000"/>
          </a:avLst>
        </a:prstGeom>
        <a:solidFill>
          <a:schemeClr val="accent1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Not regulated</a:t>
          </a:r>
        </a:p>
      </dsp:txBody>
      <dsp:txXfrm>
        <a:off x="2080988" y="2897602"/>
        <a:ext cx="1563156" cy="757996"/>
      </dsp:txXfrm>
    </dsp:sp>
    <dsp:sp modelId="{9E1CCE80-8EEB-9B41-83D9-BCD6307D1277}">
      <dsp:nvSpPr>
        <dsp:cNvPr id="0" name=""/>
        <dsp:cNvSpPr/>
      </dsp:nvSpPr>
      <dsp:spPr>
        <a:xfrm rot="18749021">
          <a:off x="3464571" y="2803188"/>
          <a:ext cx="1251646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1251646" y="11887"/>
              </a:lnTo>
            </a:path>
          </a:pathLst>
        </a:custGeom>
        <a:noFill/>
        <a:ln w="12700" cap="flat" cmpd="sng" algn="ctr">
          <a:solidFill>
            <a:srgbClr val="4F81BD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059104" y="2783784"/>
        <a:ext cx="62582" cy="62582"/>
      </dsp:txXfrm>
    </dsp:sp>
    <dsp:sp modelId="{26812E7E-0E6B-E347-9169-DE9F98D0DB3E}">
      <dsp:nvSpPr>
        <dsp:cNvPr id="0" name=""/>
        <dsp:cNvSpPr/>
      </dsp:nvSpPr>
      <dsp:spPr>
        <a:xfrm>
          <a:off x="4513064" y="1950969"/>
          <a:ext cx="1610320" cy="80516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Species</a:t>
          </a:r>
          <a:br>
            <a:rPr lang="en-US" sz="1900" kern="1200" dirty="0">
              <a:solidFill>
                <a:schemeClr val="tx1"/>
              </a:solidFill>
            </a:rPr>
          </a:br>
          <a:r>
            <a:rPr lang="en-US" sz="1900" kern="1200" dirty="0">
              <a:solidFill>
                <a:schemeClr val="tx1"/>
              </a:solidFill>
            </a:rPr>
            <a:t>Verifier</a:t>
          </a:r>
        </a:p>
      </dsp:txBody>
      <dsp:txXfrm>
        <a:off x="4536646" y="1974551"/>
        <a:ext cx="1563156" cy="757996"/>
      </dsp:txXfrm>
    </dsp:sp>
    <dsp:sp modelId="{1DE7A2CD-401E-D04F-87BD-C74C7BAF969F}">
      <dsp:nvSpPr>
        <dsp:cNvPr id="0" name=""/>
        <dsp:cNvSpPr/>
      </dsp:nvSpPr>
      <dsp:spPr>
        <a:xfrm rot="11722">
          <a:off x="3667723" y="3266155"/>
          <a:ext cx="845342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845342" y="11887"/>
              </a:lnTo>
            </a:path>
          </a:pathLst>
        </a:custGeom>
        <a:noFill/>
        <a:ln w="127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069261" y="3256908"/>
        <a:ext cx="42267" cy="42267"/>
      </dsp:txXfrm>
    </dsp:sp>
    <dsp:sp modelId="{4CC0DCD1-0895-864F-B7C7-516C107AE38C}">
      <dsp:nvSpPr>
        <dsp:cNvPr id="0" name=""/>
        <dsp:cNvSpPr/>
      </dsp:nvSpPr>
      <dsp:spPr>
        <a:xfrm>
          <a:off x="4513064" y="2876903"/>
          <a:ext cx="1610320" cy="80516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Location Verifier</a:t>
          </a:r>
        </a:p>
      </dsp:txBody>
      <dsp:txXfrm>
        <a:off x="4536646" y="2900485"/>
        <a:ext cx="1563156" cy="757996"/>
      </dsp:txXfrm>
    </dsp:sp>
    <dsp:sp modelId="{6079395F-718E-2F4B-936A-321108B7071F}">
      <dsp:nvSpPr>
        <dsp:cNvPr id="0" name=""/>
        <dsp:cNvSpPr/>
      </dsp:nvSpPr>
      <dsp:spPr>
        <a:xfrm rot="17374354">
          <a:off x="5484064" y="2361762"/>
          <a:ext cx="1922768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1922768" y="11887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6397379" y="2325580"/>
        <a:ext cx="96138" cy="96138"/>
      </dsp:txXfrm>
    </dsp:sp>
    <dsp:sp modelId="{138841DC-6C6E-D043-B4A6-F475CD289903}">
      <dsp:nvSpPr>
        <dsp:cNvPr id="0" name=""/>
        <dsp:cNvSpPr/>
      </dsp:nvSpPr>
      <dsp:spPr>
        <a:xfrm>
          <a:off x="6767512" y="1065236"/>
          <a:ext cx="1610320" cy="80516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State Verifier</a:t>
          </a:r>
        </a:p>
      </dsp:txBody>
      <dsp:txXfrm>
        <a:off x="6791094" y="1088818"/>
        <a:ext cx="1563156" cy="757996"/>
      </dsp:txXfrm>
    </dsp:sp>
    <dsp:sp modelId="{4B1D1239-F650-AF4B-AB57-20859BDF5E30}">
      <dsp:nvSpPr>
        <dsp:cNvPr id="0" name=""/>
        <dsp:cNvSpPr/>
      </dsp:nvSpPr>
      <dsp:spPr>
        <a:xfrm rot="18361538">
          <a:off x="5897857" y="2824730"/>
          <a:ext cx="1095181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1095181" y="11887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6418068" y="2809237"/>
        <a:ext cx="54759" cy="54759"/>
      </dsp:txXfrm>
    </dsp:sp>
    <dsp:sp modelId="{46DC5A21-D8E5-6D4F-940B-D00427A0B98A}">
      <dsp:nvSpPr>
        <dsp:cNvPr id="0" name=""/>
        <dsp:cNvSpPr/>
      </dsp:nvSpPr>
      <dsp:spPr>
        <a:xfrm>
          <a:off x="6767512" y="1991170"/>
          <a:ext cx="1610320" cy="80516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CISMA/CWMA Verifier</a:t>
          </a:r>
        </a:p>
      </dsp:txBody>
      <dsp:txXfrm>
        <a:off x="6791094" y="2014752"/>
        <a:ext cx="1563156" cy="757996"/>
      </dsp:txXfrm>
    </dsp:sp>
    <dsp:sp modelId="{0FD50884-0188-134D-9452-A635534FCE11}">
      <dsp:nvSpPr>
        <dsp:cNvPr id="0" name=""/>
        <dsp:cNvSpPr/>
      </dsp:nvSpPr>
      <dsp:spPr>
        <a:xfrm rot="214280">
          <a:off x="6122757" y="3287697"/>
          <a:ext cx="645381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645381" y="11887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6429313" y="3283449"/>
        <a:ext cx="32269" cy="32269"/>
      </dsp:txXfrm>
    </dsp:sp>
    <dsp:sp modelId="{39423318-5B1A-4142-A7C1-48150E957D89}">
      <dsp:nvSpPr>
        <dsp:cNvPr id="0" name=""/>
        <dsp:cNvSpPr/>
      </dsp:nvSpPr>
      <dsp:spPr>
        <a:xfrm>
          <a:off x="6767512" y="2917105"/>
          <a:ext cx="1610320" cy="80516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County Verifier</a:t>
          </a:r>
        </a:p>
      </dsp:txBody>
      <dsp:txXfrm>
        <a:off x="6791094" y="2940687"/>
        <a:ext cx="1563156" cy="757996"/>
      </dsp:txXfrm>
    </dsp:sp>
    <dsp:sp modelId="{F71DF25D-2630-B24C-8E76-CC015F20B21A}">
      <dsp:nvSpPr>
        <dsp:cNvPr id="0" name=""/>
        <dsp:cNvSpPr/>
      </dsp:nvSpPr>
      <dsp:spPr>
        <a:xfrm rot="3378503">
          <a:off x="5864862" y="3750664"/>
          <a:ext cx="1161171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1161171" y="11887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6416419" y="3733522"/>
        <a:ext cx="58058" cy="58058"/>
      </dsp:txXfrm>
    </dsp:sp>
    <dsp:sp modelId="{D6E967DF-D3F4-134D-93D7-1F5048A8AFBE}">
      <dsp:nvSpPr>
        <dsp:cNvPr id="0" name=""/>
        <dsp:cNvSpPr/>
      </dsp:nvSpPr>
      <dsp:spPr>
        <a:xfrm>
          <a:off x="6767512" y="3843039"/>
          <a:ext cx="1610320" cy="80516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Park/Site Verifier</a:t>
          </a:r>
        </a:p>
      </dsp:txBody>
      <dsp:txXfrm>
        <a:off x="6791094" y="3866621"/>
        <a:ext cx="1563156" cy="757996"/>
      </dsp:txXfrm>
    </dsp:sp>
    <dsp:sp modelId="{358C1CCB-7271-E04D-92F6-2133C94E4D79}">
      <dsp:nvSpPr>
        <dsp:cNvPr id="0" name=""/>
        <dsp:cNvSpPr/>
      </dsp:nvSpPr>
      <dsp:spPr>
        <a:xfrm rot="2861637">
          <a:off x="3462442" y="3729122"/>
          <a:ext cx="1255904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1255904" y="11887"/>
              </a:lnTo>
            </a:path>
          </a:pathLst>
        </a:custGeom>
        <a:noFill/>
        <a:ln w="12700" cap="flat" cmpd="sng" algn="ctr">
          <a:solidFill>
            <a:srgbClr val="4F81BD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058997" y="3709611"/>
        <a:ext cx="62795" cy="62795"/>
      </dsp:txXfrm>
    </dsp:sp>
    <dsp:sp modelId="{60C93B86-6E8C-3A47-B0D8-1F8139C6C6E4}">
      <dsp:nvSpPr>
        <dsp:cNvPr id="0" name=""/>
        <dsp:cNvSpPr/>
      </dsp:nvSpPr>
      <dsp:spPr>
        <a:xfrm>
          <a:off x="4513064" y="3802837"/>
          <a:ext cx="1610320" cy="805160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Project</a:t>
          </a:r>
          <a:br>
            <a:rPr lang="en-US" sz="1900" kern="1200" dirty="0">
              <a:solidFill>
                <a:schemeClr val="tx1"/>
              </a:solidFill>
            </a:rPr>
          </a:br>
          <a:r>
            <a:rPr lang="en-US" sz="1900" kern="1200" dirty="0">
              <a:solidFill>
                <a:schemeClr val="tx1"/>
              </a:solidFill>
            </a:rPr>
            <a:t>Verifier</a:t>
          </a:r>
        </a:p>
      </dsp:txBody>
      <dsp:txXfrm>
        <a:off x="4536646" y="3826419"/>
        <a:ext cx="1563156" cy="757996"/>
      </dsp:txXfrm>
    </dsp:sp>
    <dsp:sp modelId="{70C73A82-4BA5-8D45-8448-C6F003FDA26D}">
      <dsp:nvSpPr>
        <dsp:cNvPr id="0" name=""/>
        <dsp:cNvSpPr/>
      </dsp:nvSpPr>
      <dsp:spPr>
        <a:xfrm rot="4252271">
          <a:off x="2808163" y="4472647"/>
          <a:ext cx="2557056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2557056" y="11887"/>
              </a:lnTo>
            </a:path>
          </a:pathLst>
        </a:custGeom>
        <a:noFill/>
        <a:ln w="12700" cap="flat" cmpd="sng" algn="ctr">
          <a:solidFill>
            <a:srgbClr val="F79646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4022765" y="4420608"/>
        <a:ext cx="127852" cy="127852"/>
      </dsp:txXfrm>
    </dsp:sp>
    <dsp:sp modelId="{145A4B6E-AD6D-9C4C-AF55-2C98B934D3AB}">
      <dsp:nvSpPr>
        <dsp:cNvPr id="0" name=""/>
        <dsp:cNvSpPr/>
      </dsp:nvSpPr>
      <dsp:spPr>
        <a:xfrm>
          <a:off x="4505656" y="5289887"/>
          <a:ext cx="1610320" cy="805160"/>
        </a:xfrm>
        <a:prstGeom prst="roundRect">
          <a:avLst>
            <a:gd name="adj" fmla="val 10000"/>
          </a:avLst>
        </a:prstGeom>
        <a:solidFill>
          <a:schemeClr val="accent6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No Verifier</a:t>
          </a:r>
        </a:p>
      </dsp:txBody>
      <dsp:txXfrm>
        <a:off x="4529238" y="5313469"/>
        <a:ext cx="1563156" cy="757996"/>
      </dsp:txXfrm>
    </dsp:sp>
    <dsp:sp modelId="{1D942E5C-4E6A-ED4F-883D-355FB50CF4EA}">
      <dsp:nvSpPr>
        <dsp:cNvPr id="0" name=""/>
        <dsp:cNvSpPr/>
      </dsp:nvSpPr>
      <dsp:spPr>
        <a:xfrm rot="5023">
          <a:off x="6115976" y="5681056"/>
          <a:ext cx="651536" cy="23774"/>
        </a:xfrm>
        <a:custGeom>
          <a:avLst/>
          <a:gdLst/>
          <a:ahLst/>
          <a:cxnLst/>
          <a:rect l="0" t="0" r="0" b="0"/>
          <a:pathLst>
            <a:path>
              <a:moveTo>
                <a:pt x="0" y="11887"/>
              </a:moveTo>
              <a:lnTo>
                <a:pt x="651536" y="11887"/>
              </a:lnTo>
            </a:path>
          </a:pathLst>
        </a:custGeom>
        <a:noFill/>
        <a:ln w="12700" cap="flat" cmpd="sng" algn="ctr">
          <a:solidFill>
            <a:schemeClr val="accent6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6425456" y="5676655"/>
        <a:ext cx="32576" cy="32576"/>
      </dsp:txXfrm>
    </dsp:sp>
    <dsp:sp modelId="{B75429D9-1FF5-6A45-B121-74D748B8BFFD}">
      <dsp:nvSpPr>
        <dsp:cNvPr id="0" name=""/>
        <dsp:cNvSpPr/>
      </dsp:nvSpPr>
      <dsp:spPr>
        <a:xfrm>
          <a:off x="6767512" y="5290839"/>
          <a:ext cx="1610320" cy="805160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solidFill>
                <a:schemeClr val="tx1"/>
              </a:solidFill>
            </a:rPr>
            <a:t>EDDMapS Admin</a:t>
          </a:r>
        </a:p>
      </dsp:txBody>
      <dsp:txXfrm>
        <a:off x="6791094" y="5314421"/>
        <a:ext cx="1563156" cy="7579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A293C5-BEA6-6942-99E9-DBCAF253E5B2}">
      <dsp:nvSpPr>
        <dsp:cNvPr id="0" name=""/>
        <dsp:cNvSpPr/>
      </dsp:nvSpPr>
      <dsp:spPr>
        <a:xfrm>
          <a:off x="681012" y="2349724"/>
          <a:ext cx="1882185" cy="86736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Verified and Released Report</a:t>
          </a:r>
        </a:p>
      </dsp:txBody>
      <dsp:txXfrm>
        <a:off x="706416" y="2375128"/>
        <a:ext cx="1831377" cy="816560"/>
      </dsp:txXfrm>
    </dsp:sp>
    <dsp:sp modelId="{0993DCB1-7878-3243-8D49-E078F38CC5CF}">
      <dsp:nvSpPr>
        <dsp:cNvPr id="0" name=""/>
        <dsp:cNvSpPr/>
      </dsp:nvSpPr>
      <dsp:spPr>
        <a:xfrm rot="16693013">
          <a:off x="1826135" y="1925071"/>
          <a:ext cx="1719939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1719939" y="7196"/>
              </a:lnTo>
            </a:path>
          </a:pathLst>
        </a:custGeom>
        <a:noFill/>
        <a:ln w="12700" cap="flat" cmpd="sng" algn="ctr">
          <a:solidFill>
            <a:srgbClr val="C0504D"/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2643106" y="1889269"/>
        <a:ext cx="85996" cy="85996"/>
      </dsp:txXfrm>
    </dsp:sp>
    <dsp:sp modelId="{34FA3386-1288-7C4C-9DD8-611039E6E056}">
      <dsp:nvSpPr>
        <dsp:cNvPr id="0" name=""/>
        <dsp:cNvSpPr/>
      </dsp:nvSpPr>
      <dsp:spPr>
        <a:xfrm>
          <a:off x="2809012" y="777636"/>
          <a:ext cx="1213960" cy="606980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Users Alerts</a:t>
          </a:r>
        </a:p>
      </dsp:txBody>
      <dsp:txXfrm>
        <a:off x="2826790" y="795414"/>
        <a:ext cx="1178404" cy="571424"/>
      </dsp:txXfrm>
    </dsp:sp>
    <dsp:sp modelId="{46944D52-577E-9949-91A2-AEFAF51D12BA}">
      <dsp:nvSpPr>
        <dsp:cNvPr id="0" name=""/>
        <dsp:cNvSpPr/>
      </dsp:nvSpPr>
      <dsp:spPr>
        <a:xfrm rot="18838331">
          <a:off x="3883708" y="746063"/>
          <a:ext cx="911149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911149" y="7196"/>
              </a:lnTo>
            </a:path>
          </a:pathLst>
        </a:custGeom>
        <a:noFill/>
        <a:ln w="127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316504" y="730480"/>
        <a:ext cx="45557" cy="45557"/>
      </dsp:txXfrm>
    </dsp:sp>
    <dsp:sp modelId="{6BCCEF5E-7229-1244-9DE2-AAB2A20729A3}">
      <dsp:nvSpPr>
        <dsp:cNvPr id="0" name=""/>
        <dsp:cNvSpPr/>
      </dsp:nvSpPr>
      <dsp:spPr>
        <a:xfrm>
          <a:off x="4655592" y="121902"/>
          <a:ext cx="1626731" cy="606980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solidFill>
                <a:schemeClr val="tx1"/>
              </a:solidFill>
            </a:rPr>
            <a:t>By Species</a:t>
          </a:r>
        </a:p>
      </dsp:txBody>
      <dsp:txXfrm>
        <a:off x="4673370" y="139680"/>
        <a:ext cx="1591175" cy="571424"/>
      </dsp:txXfrm>
    </dsp:sp>
    <dsp:sp modelId="{EF770FBE-2A83-3E47-BF04-CF96DB11D443}">
      <dsp:nvSpPr>
        <dsp:cNvPr id="0" name=""/>
        <dsp:cNvSpPr/>
      </dsp:nvSpPr>
      <dsp:spPr>
        <a:xfrm rot="21591061">
          <a:off x="4022972" y="1073107"/>
          <a:ext cx="632621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632621" y="7196"/>
              </a:lnTo>
            </a:path>
          </a:pathLst>
        </a:custGeom>
        <a:noFill/>
        <a:ln w="127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323467" y="1064488"/>
        <a:ext cx="31631" cy="31631"/>
      </dsp:txXfrm>
    </dsp:sp>
    <dsp:sp modelId="{2F84AD96-ED24-AB44-9E01-B34C906B8478}">
      <dsp:nvSpPr>
        <dsp:cNvPr id="0" name=""/>
        <dsp:cNvSpPr/>
      </dsp:nvSpPr>
      <dsp:spPr>
        <a:xfrm>
          <a:off x="4655592" y="775991"/>
          <a:ext cx="1626731" cy="606980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solidFill>
                <a:schemeClr val="tx1"/>
              </a:solidFill>
            </a:rPr>
            <a:t>By Location</a:t>
          </a:r>
        </a:p>
      </dsp:txBody>
      <dsp:txXfrm>
        <a:off x="4673370" y="793769"/>
        <a:ext cx="1591175" cy="571424"/>
      </dsp:txXfrm>
    </dsp:sp>
    <dsp:sp modelId="{438046C7-AFBC-5F4D-9A8E-EFE455B90867}">
      <dsp:nvSpPr>
        <dsp:cNvPr id="0" name=""/>
        <dsp:cNvSpPr/>
      </dsp:nvSpPr>
      <dsp:spPr>
        <a:xfrm rot="2744442">
          <a:off x="3889477" y="1390415"/>
          <a:ext cx="883805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883805" y="7196"/>
              </a:lnTo>
            </a:path>
          </a:pathLst>
        </a:custGeom>
        <a:noFill/>
        <a:ln w="127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309285" y="1375516"/>
        <a:ext cx="44190" cy="44190"/>
      </dsp:txXfrm>
    </dsp:sp>
    <dsp:sp modelId="{F6F49D34-7343-F64A-B4FD-701963DD5C72}">
      <dsp:nvSpPr>
        <dsp:cNvPr id="0" name=""/>
        <dsp:cNvSpPr/>
      </dsp:nvSpPr>
      <dsp:spPr>
        <a:xfrm>
          <a:off x="4639787" y="1410607"/>
          <a:ext cx="1626731" cy="606980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solidFill>
                <a:schemeClr val="tx1"/>
              </a:solidFill>
            </a:rPr>
            <a:t>By Project</a:t>
          </a:r>
        </a:p>
      </dsp:txBody>
      <dsp:txXfrm>
        <a:off x="4657565" y="1428385"/>
        <a:ext cx="1591175" cy="571424"/>
      </dsp:txXfrm>
    </dsp:sp>
    <dsp:sp modelId="{60315064-1D90-C64A-BB3E-9B2DE060ADBF}">
      <dsp:nvSpPr>
        <dsp:cNvPr id="0" name=""/>
        <dsp:cNvSpPr/>
      </dsp:nvSpPr>
      <dsp:spPr>
        <a:xfrm rot="4821">
          <a:off x="2563196" y="2777681"/>
          <a:ext cx="2094654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2094654" y="7196"/>
              </a:lnTo>
            </a:path>
          </a:pathLst>
        </a:custGeom>
        <a:noFill/>
        <a:ln w="12700" cap="flat" cmpd="sng" algn="ctr">
          <a:solidFill>
            <a:srgbClr val="4F81BD"/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3558157" y="2732511"/>
        <a:ext cx="104732" cy="104732"/>
      </dsp:txXfrm>
    </dsp:sp>
    <dsp:sp modelId="{871E8B3C-79EA-E449-B957-D5B519964EE6}">
      <dsp:nvSpPr>
        <dsp:cNvPr id="0" name=""/>
        <dsp:cNvSpPr/>
      </dsp:nvSpPr>
      <dsp:spPr>
        <a:xfrm>
          <a:off x="4657850" y="2392480"/>
          <a:ext cx="1678033" cy="78773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solidFill>
            <a:srgbClr val="4F81BD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Maps</a:t>
          </a:r>
        </a:p>
      </dsp:txBody>
      <dsp:txXfrm>
        <a:off x="4680922" y="2415552"/>
        <a:ext cx="1631889" cy="741589"/>
      </dsp:txXfrm>
    </dsp:sp>
    <dsp:sp modelId="{A234FA20-E8A7-5841-A3A8-D41618BA5199}">
      <dsp:nvSpPr>
        <dsp:cNvPr id="0" name=""/>
        <dsp:cNvSpPr/>
      </dsp:nvSpPr>
      <dsp:spPr>
        <a:xfrm rot="19246470">
          <a:off x="6081206" y="2064434"/>
          <a:ext cx="2260422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2260422" y="7196"/>
              </a:lnTo>
            </a:path>
          </a:pathLst>
        </a:custGeom>
        <a:noFill/>
        <a:ln w="127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7154906" y="2015119"/>
        <a:ext cx="113021" cy="113021"/>
      </dsp:txXfrm>
    </dsp:sp>
    <dsp:sp modelId="{0D72F578-01E5-284E-A0AB-BE2C3572DBA3}">
      <dsp:nvSpPr>
        <dsp:cNvPr id="0" name=""/>
        <dsp:cNvSpPr/>
      </dsp:nvSpPr>
      <dsp:spPr>
        <a:xfrm>
          <a:off x="8086950" y="1053423"/>
          <a:ext cx="1897857" cy="606980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>
          <a:solidFill>
            <a:schemeClr val="accent1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State Distribution</a:t>
          </a:r>
        </a:p>
      </dsp:txBody>
      <dsp:txXfrm>
        <a:off x="8104728" y="1071201"/>
        <a:ext cx="1862301" cy="571424"/>
      </dsp:txXfrm>
    </dsp:sp>
    <dsp:sp modelId="{6777A401-1ED0-8148-A3BD-2BB5AC024BFC}">
      <dsp:nvSpPr>
        <dsp:cNvPr id="0" name=""/>
        <dsp:cNvSpPr/>
      </dsp:nvSpPr>
      <dsp:spPr>
        <a:xfrm rot="20275860">
          <a:off x="6266664" y="2424185"/>
          <a:ext cx="1889505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1889505" y="7196"/>
              </a:lnTo>
            </a:path>
          </a:pathLst>
        </a:custGeom>
        <a:noFill/>
        <a:ln w="127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7164179" y="2384143"/>
        <a:ext cx="94475" cy="94475"/>
      </dsp:txXfrm>
    </dsp:sp>
    <dsp:sp modelId="{BBA3A21B-AA75-C047-A29B-24E7CC694176}">
      <dsp:nvSpPr>
        <dsp:cNvPr id="0" name=""/>
        <dsp:cNvSpPr/>
      </dsp:nvSpPr>
      <dsp:spPr>
        <a:xfrm>
          <a:off x="8086950" y="1772926"/>
          <a:ext cx="1897857" cy="606980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>
          <a:solidFill>
            <a:schemeClr val="accent1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County Distribution</a:t>
          </a:r>
        </a:p>
      </dsp:txBody>
      <dsp:txXfrm>
        <a:off x="8104728" y="1790704"/>
        <a:ext cx="1862301" cy="571424"/>
      </dsp:txXfrm>
    </dsp:sp>
    <dsp:sp modelId="{FF11A265-5B5C-9B4A-875A-04D52A8B2F75}">
      <dsp:nvSpPr>
        <dsp:cNvPr id="0" name=""/>
        <dsp:cNvSpPr/>
      </dsp:nvSpPr>
      <dsp:spPr>
        <a:xfrm rot="18780">
          <a:off x="6335871" y="2783933"/>
          <a:ext cx="1751091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1751091" y="7196"/>
              </a:lnTo>
            </a:path>
          </a:pathLst>
        </a:custGeom>
        <a:noFill/>
        <a:ln w="127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7167639" y="2747352"/>
        <a:ext cx="87554" cy="87554"/>
      </dsp:txXfrm>
    </dsp:sp>
    <dsp:sp modelId="{AEAB2C15-06BC-1D42-8247-3686A3F48D9D}">
      <dsp:nvSpPr>
        <dsp:cNvPr id="0" name=""/>
        <dsp:cNvSpPr/>
      </dsp:nvSpPr>
      <dsp:spPr>
        <a:xfrm>
          <a:off x="8086950" y="2492422"/>
          <a:ext cx="1897857" cy="606980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>
          <a:solidFill>
            <a:schemeClr val="accent1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Google Point Maps</a:t>
          </a:r>
        </a:p>
      </dsp:txBody>
      <dsp:txXfrm>
        <a:off x="8104728" y="2510200"/>
        <a:ext cx="1862301" cy="571424"/>
      </dsp:txXfrm>
    </dsp:sp>
    <dsp:sp modelId="{2AF85CEC-A10D-3049-9B41-55C6959BCADF}">
      <dsp:nvSpPr>
        <dsp:cNvPr id="0" name=""/>
        <dsp:cNvSpPr/>
      </dsp:nvSpPr>
      <dsp:spPr>
        <a:xfrm rot="1356275">
          <a:off x="6263028" y="3143681"/>
          <a:ext cx="1896776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1896776" y="7196"/>
              </a:lnTo>
            </a:path>
          </a:pathLst>
        </a:custGeom>
        <a:noFill/>
        <a:ln w="127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7163997" y="3103458"/>
        <a:ext cx="94838" cy="94838"/>
      </dsp:txXfrm>
    </dsp:sp>
    <dsp:sp modelId="{8519B04C-0DC2-2E4B-9093-7A5F4DB0D3E2}">
      <dsp:nvSpPr>
        <dsp:cNvPr id="0" name=""/>
        <dsp:cNvSpPr/>
      </dsp:nvSpPr>
      <dsp:spPr>
        <a:xfrm>
          <a:off x="8086950" y="3211918"/>
          <a:ext cx="1897857" cy="606980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>
          <a:solidFill>
            <a:schemeClr val="accent1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ArcGIS</a:t>
          </a:r>
        </a:p>
      </dsp:txBody>
      <dsp:txXfrm>
        <a:off x="8104728" y="3229696"/>
        <a:ext cx="1862301" cy="571424"/>
      </dsp:txXfrm>
    </dsp:sp>
    <dsp:sp modelId="{849075DC-6D25-0449-92DE-A578DD4AE985}">
      <dsp:nvSpPr>
        <dsp:cNvPr id="0" name=""/>
        <dsp:cNvSpPr/>
      </dsp:nvSpPr>
      <dsp:spPr>
        <a:xfrm rot="2430689">
          <a:off x="6062151" y="3520907"/>
          <a:ext cx="2283733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2283733" y="7196"/>
              </a:lnTo>
            </a:path>
          </a:pathLst>
        </a:custGeom>
        <a:noFill/>
        <a:ln w="127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7146924" y="3471010"/>
        <a:ext cx="114186" cy="114186"/>
      </dsp:txXfrm>
    </dsp:sp>
    <dsp:sp modelId="{539A6E7A-11A8-D143-8D0C-80B0FC9F2F27}">
      <dsp:nvSpPr>
        <dsp:cNvPr id="0" name=""/>
        <dsp:cNvSpPr/>
      </dsp:nvSpPr>
      <dsp:spPr>
        <a:xfrm>
          <a:off x="8072151" y="3966371"/>
          <a:ext cx="1897857" cy="606980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>
          <a:solidFill>
            <a:schemeClr val="accent1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Custom Maps</a:t>
          </a:r>
        </a:p>
      </dsp:txBody>
      <dsp:txXfrm>
        <a:off x="8089929" y="3984149"/>
        <a:ext cx="1862301" cy="571424"/>
      </dsp:txXfrm>
    </dsp:sp>
    <dsp:sp modelId="{F16AB732-5183-2D43-89D5-A4F6E7A16C67}">
      <dsp:nvSpPr>
        <dsp:cNvPr id="0" name=""/>
        <dsp:cNvSpPr/>
      </dsp:nvSpPr>
      <dsp:spPr>
        <a:xfrm rot="5036072">
          <a:off x="1483825" y="3976355"/>
          <a:ext cx="2413798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2413798" y="7196"/>
              </a:lnTo>
            </a:path>
          </a:pathLst>
        </a:custGeom>
        <a:noFill/>
        <a:ln w="12700" cap="flat" cmpd="sng" algn="ctr">
          <a:solidFill>
            <a:schemeClr val="accent6"/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2630379" y="3923206"/>
        <a:ext cx="120689" cy="120689"/>
      </dsp:txXfrm>
    </dsp:sp>
    <dsp:sp modelId="{66DB773E-FEBC-5E44-A786-C986B5CCEDBB}">
      <dsp:nvSpPr>
        <dsp:cNvPr id="0" name=""/>
        <dsp:cNvSpPr/>
      </dsp:nvSpPr>
      <dsp:spPr>
        <a:xfrm>
          <a:off x="2818251" y="4880204"/>
          <a:ext cx="1213960" cy="606980"/>
        </a:xfrm>
        <a:prstGeom prst="roundRect">
          <a:avLst>
            <a:gd name="adj" fmla="val 10000"/>
          </a:avLst>
        </a:prstGeom>
        <a:solidFill>
          <a:schemeClr val="accent6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Data Feeds</a:t>
          </a:r>
        </a:p>
      </dsp:txBody>
      <dsp:txXfrm>
        <a:off x="2836029" y="4897982"/>
        <a:ext cx="1178404" cy="571424"/>
      </dsp:txXfrm>
    </dsp:sp>
    <dsp:sp modelId="{C95008DA-A3F1-A34A-977D-052A62246362}">
      <dsp:nvSpPr>
        <dsp:cNvPr id="0" name=""/>
        <dsp:cNvSpPr/>
      </dsp:nvSpPr>
      <dsp:spPr>
        <a:xfrm rot="18646121">
          <a:off x="3866586" y="4815002"/>
          <a:ext cx="954631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954631" y="719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320036" y="4798332"/>
        <a:ext cx="47731" cy="47731"/>
      </dsp:txXfrm>
    </dsp:sp>
    <dsp:sp modelId="{C1E6BD7C-D109-6B4A-B159-16E330F8D35F}">
      <dsp:nvSpPr>
        <dsp:cNvPr id="0" name=""/>
        <dsp:cNvSpPr/>
      </dsp:nvSpPr>
      <dsp:spPr>
        <a:xfrm>
          <a:off x="4655592" y="4157211"/>
          <a:ext cx="1626731" cy="606980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>
          <a:solidFill>
            <a:schemeClr val="accent1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GISIN</a:t>
          </a:r>
        </a:p>
      </dsp:txBody>
      <dsp:txXfrm>
        <a:off x="4673370" y="4174989"/>
        <a:ext cx="1591175" cy="571424"/>
      </dsp:txXfrm>
    </dsp:sp>
    <dsp:sp modelId="{8CC54DB4-BE1D-204C-9376-49516AC52F21}">
      <dsp:nvSpPr>
        <dsp:cNvPr id="0" name=""/>
        <dsp:cNvSpPr/>
      </dsp:nvSpPr>
      <dsp:spPr>
        <a:xfrm>
          <a:off x="4032211" y="5176498"/>
          <a:ext cx="623381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623381" y="719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328317" y="5168110"/>
        <a:ext cx="31169" cy="31169"/>
      </dsp:txXfrm>
    </dsp:sp>
    <dsp:sp modelId="{E340E93F-A963-2F4F-9B5E-C9F2008D773A}">
      <dsp:nvSpPr>
        <dsp:cNvPr id="0" name=""/>
        <dsp:cNvSpPr/>
      </dsp:nvSpPr>
      <dsp:spPr>
        <a:xfrm>
          <a:off x="4655592" y="4880204"/>
          <a:ext cx="1626731" cy="606980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>
          <a:solidFill>
            <a:schemeClr val="accent1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Recent Reports RSS</a:t>
          </a:r>
        </a:p>
      </dsp:txBody>
      <dsp:txXfrm>
        <a:off x="4673370" y="4897982"/>
        <a:ext cx="1591175" cy="571424"/>
      </dsp:txXfrm>
    </dsp:sp>
    <dsp:sp modelId="{69E061E6-033E-D740-BFFC-2963DB7DA688}">
      <dsp:nvSpPr>
        <dsp:cNvPr id="0" name=""/>
        <dsp:cNvSpPr/>
      </dsp:nvSpPr>
      <dsp:spPr>
        <a:xfrm rot="2924631">
          <a:off x="3876559" y="5520079"/>
          <a:ext cx="914060" cy="14392"/>
        </a:xfrm>
        <a:custGeom>
          <a:avLst/>
          <a:gdLst/>
          <a:ahLst/>
          <a:cxnLst/>
          <a:rect l="0" t="0" r="0" b="0"/>
          <a:pathLst>
            <a:path>
              <a:moveTo>
                <a:pt x="0" y="7196"/>
              </a:moveTo>
              <a:lnTo>
                <a:pt x="914060" y="719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310738" y="5504424"/>
        <a:ext cx="45703" cy="45703"/>
      </dsp:txXfrm>
    </dsp:sp>
    <dsp:sp modelId="{EFF33456-DBC7-5949-B84A-3389FAFF9DEF}">
      <dsp:nvSpPr>
        <dsp:cNvPr id="0" name=""/>
        <dsp:cNvSpPr/>
      </dsp:nvSpPr>
      <dsp:spPr>
        <a:xfrm>
          <a:off x="4634967" y="5567366"/>
          <a:ext cx="1626731" cy="606980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>
          <a:solidFill>
            <a:schemeClr val="accent1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>
              <a:solidFill>
                <a:schemeClr val="tx1"/>
              </a:solidFill>
            </a:rPr>
            <a:t>API</a:t>
          </a:r>
        </a:p>
      </dsp:txBody>
      <dsp:txXfrm>
        <a:off x="4652745" y="5585144"/>
        <a:ext cx="1591175" cy="57142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DB4081-3A46-410C-BF72-031F6117B0D9}">
      <dsp:nvSpPr>
        <dsp:cNvPr id="0" name=""/>
        <dsp:cNvSpPr/>
      </dsp:nvSpPr>
      <dsp:spPr>
        <a:xfrm>
          <a:off x="8902943" y="796718"/>
          <a:ext cx="2045137" cy="204547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8B8BEC-7021-4188-B678-F8ECF9E10656}">
      <dsp:nvSpPr>
        <dsp:cNvPr id="0" name=""/>
        <dsp:cNvSpPr/>
      </dsp:nvSpPr>
      <dsp:spPr>
        <a:xfrm>
          <a:off x="8970425" y="864912"/>
          <a:ext cx="1909084" cy="190908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SEEDN</a:t>
          </a:r>
          <a:endParaRPr lang="en-US" sz="2700" kern="1200" dirty="0"/>
        </a:p>
      </dsp:txBody>
      <dsp:txXfrm>
        <a:off x="9243618" y="1137690"/>
        <a:ext cx="1363787" cy="1363528"/>
      </dsp:txXfrm>
    </dsp:sp>
    <dsp:sp modelId="{DFE9E2DF-D5E0-4929-A375-B7B4869EB49C}">
      <dsp:nvSpPr>
        <dsp:cNvPr id="0" name=""/>
        <dsp:cNvSpPr/>
      </dsp:nvSpPr>
      <dsp:spPr>
        <a:xfrm rot="2700000">
          <a:off x="6788265" y="796824"/>
          <a:ext cx="2044900" cy="204490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DF905B-1D65-44C4-BA71-98247709DF8F}">
      <dsp:nvSpPr>
        <dsp:cNvPr id="0" name=""/>
        <dsp:cNvSpPr/>
      </dsp:nvSpPr>
      <dsp:spPr>
        <a:xfrm>
          <a:off x="6857806" y="864912"/>
          <a:ext cx="1909084" cy="190908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Has Mobile Signal</a:t>
          </a:r>
          <a:endParaRPr lang="en-US" sz="2700" kern="1200" dirty="0"/>
        </a:p>
      </dsp:txBody>
      <dsp:txXfrm>
        <a:off x="7129910" y="1137690"/>
        <a:ext cx="1363787" cy="1363528"/>
      </dsp:txXfrm>
    </dsp:sp>
    <dsp:sp modelId="{076A0E90-3C18-46B1-88CB-1AD716122E16}">
      <dsp:nvSpPr>
        <dsp:cNvPr id="0" name=""/>
        <dsp:cNvSpPr/>
      </dsp:nvSpPr>
      <dsp:spPr>
        <a:xfrm rot="2700000">
          <a:off x="4675646" y="796824"/>
          <a:ext cx="2044900" cy="204490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664F28-CC81-4761-B0DB-59C06481966C}">
      <dsp:nvSpPr>
        <dsp:cNvPr id="0" name=""/>
        <dsp:cNvSpPr/>
      </dsp:nvSpPr>
      <dsp:spPr>
        <a:xfrm>
          <a:off x="4744099" y="864912"/>
          <a:ext cx="1909084" cy="190908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Short Term</a:t>
          </a:r>
          <a:endParaRPr lang="en-US" sz="2700" kern="1200" dirty="0"/>
        </a:p>
      </dsp:txBody>
      <dsp:txXfrm>
        <a:off x="5016203" y="1137690"/>
        <a:ext cx="1363787" cy="1363528"/>
      </dsp:txXfrm>
    </dsp:sp>
    <dsp:sp modelId="{C6BD4119-014C-4B1B-BF19-0756172E35E0}">
      <dsp:nvSpPr>
        <dsp:cNvPr id="0" name=""/>
        <dsp:cNvSpPr/>
      </dsp:nvSpPr>
      <dsp:spPr>
        <a:xfrm rot="2700000">
          <a:off x="2561939" y="796824"/>
          <a:ext cx="2044900" cy="204490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900B9E-54D2-4CCA-93BD-E493B4AC1C62}">
      <dsp:nvSpPr>
        <dsp:cNvPr id="0" name=""/>
        <dsp:cNvSpPr/>
      </dsp:nvSpPr>
      <dsp:spPr>
        <a:xfrm>
          <a:off x="2630391" y="864912"/>
          <a:ext cx="1909084" cy="190908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Novice</a:t>
          </a:r>
          <a:endParaRPr lang="en-US" sz="2700" kern="1200" dirty="0"/>
        </a:p>
      </dsp:txBody>
      <dsp:txXfrm>
        <a:off x="2903584" y="1137690"/>
        <a:ext cx="1363787" cy="1363528"/>
      </dsp:txXfrm>
    </dsp:sp>
    <dsp:sp modelId="{726D7243-5910-4263-B965-3418AFE8342F}">
      <dsp:nvSpPr>
        <dsp:cNvPr id="0" name=""/>
        <dsp:cNvSpPr/>
      </dsp:nvSpPr>
      <dsp:spPr>
        <a:xfrm rot="2700000">
          <a:off x="448232" y="796824"/>
          <a:ext cx="2044900" cy="204490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5CFFD8-7ABA-4226-8521-6370C1F0E111}">
      <dsp:nvSpPr>
        <dsp:cNvPr id="0" name=""/>
        <dsp:cNvSpPr/>
      </dsp:nvSpPr>
      <dsp:spPr>
        <a:xfrm>
          <a:off x="516684" y="864912"/>
          <a:ext cx="1909084" cy="190908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Citizen Scientists</a:t>
          </a:r>
          <a:endParaRPr lang="en-US" sz="2700" kern="1200" dirty="0"/>
        </a:p>
      </dsp:txBody>
      <dsp:txXfrm>
        <a:off x="789877" y="1137690"/>
        <a:ext cx="1363787" cy="136352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DB4081-3A46-410C-BF72-031F6117B0D9}">
      <dsp:nvSpPr>
        <dsp:cNvPr id="0" name=""/>
        <dsp:cNvSpPr/>
      </dsp:nvSpPr>
      <dsp:spPr>
        <a:xfrm>
          <a:off x="8902943" y="796718"/>
          <a:ext cx="2045137" cy="204547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8B8BEC-7021-4188-B678-F8ECF9E10656}">
      <dsp:nvSpPr>
        <dsp:cNvPr id="0" name=""/>
        <dsp:cNvSpPr/>
      </dsp:nvSpPr>
      <dsp:spPr>
        <a:xfrm>
          <a:off x="8970425" y="864912"/>
          <a:ext cx="1909084" cy="190908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EDDMapS Pro</a:t>
          </a:r>
          <a:endParaRPr lang="en-US" sz="2100" kern="1200" dirty="0"/>
        </a:p>
      </dsp:txBody>
      <dsp:txXfrm>
        <a:off x="9243618" y="1137690"/>
        <a:ext cx="1363787" cy="1363528"/>
      </dsp:txXfrm>
    </dsp:sp>
    <dsp:sp modelId="{DFE9E2DF-D5E0-4929-A375-B7B4869EB49C}">
      <dsp:nvSpPr>
        <dsp:cNvPr id="0" name=""/>
        <dsp:cNvSpPr/>
      </dsp:nvSpPr>
      <dsp:spPr>
        <a:xfrm rot="2700000">
          <a:off x="6788265" y="796824"/>
          <a:ext cx="2044900" cy="204490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DF905B-1D65-44C4-BA71-98247709DF8F}">
      <dsp:nvSpPr>
        <dsp:cNvPr id="0" name=""/>
        <dsp:cNvSpPr/>
      </dsp:nvSpPr>
      <dsp:spPr>
        <a:xfrm>
          <a:off x="6857806" y="864912"/>
          <a:ext cx="1909084" cy="190908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No/Low Mobile Signal</a:t>
          </a:r>
          <a:endParaRPr lang="en-US" sz="2100" kern="1200" dirty="0"/>
        </a:p>
      </dsp:txBody>
      <dsp:txXfrm>
        <a:off x="7129910" y="1137690"/>
        <a:ext cx="1363787" cy="1363528"/>
      </dsp:txXfrm>
    </dsp:sp>
    <dsp:sp modelId="{076A0E90-3C18-46B1-88CB-1AD716122E16}">
      <dsp:nvSpPr>
        <dsp:cNvPr id="0" name=""/>
        <dsp:cNvSpPr/>
      </dsp:nvSpPr>
      <dsp:spPr>
        <a:xfrm rot="2700000">
          <a:off x="4675646" y="796824"/>
          <a:ext cx="2044900" cy="204490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664F28-CC81-4761-B0DB-59C06481966C}">
      <dsp:nvSpPr>
        <dsp:cNvPr id="0" name=""/>
        <dsp:cNvSpPr/>
      </dsp:nvSpPr>
      <dsp:spPr>
        <a:xfrm>
          <a:off x="4744099" y="864912"/>
          <a:ext cx="1909084" cy="190908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Long Term</a:t>
          </a:r>
          <a:endParaRPr lang="en-US" sz="2100" kern="1200" dirty="0"/>
        </a:p>
      </dsp:txBody>
      <dsp:txXfrm>
        <a:off x="5016203" y="1137690"/>
        <a:ext cx="1363787" cy="1363528"/>
      </dsp:txXfrm>
    </dsp:sp>
    <dsp:sp modelId="{C6BD4119-014C-4B1B-BF19-0756172E35E0}">
      <dsp:nvSpPr>
        <dsp:cNvPr id="0" name=""/>
        <dsp:cNvSpPr/>
      </dsp:nvSpPr>
      <dsp:spPr>
        <a:xfrm rot="2700000">
          <a:off x="2561939" y="796824"/>
          <a:ext cx="2044900" cy="204490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900B9E-54D2-4CCA-93BD-E493B4AC1C62}">
      <dsp:nvSpPr>
        <dsp:cNvPr id="0" name=""/>
        <dsp:cNvSpPr/>
      </dsp:nvSpPr>
      <dsp:spPr>
        <a:xfrm>
          <a:off x="2630391" y="864912"/>
          <a:ext cx="1909084" cy="190908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Expert</a:t>
          </a:r>
          <a:endParaRPr lang="en-US" sz="2100" kern="1200" dirty="0"/>
        </a:p>
      </dsp:txBody>
      <dsp:txXfrm>
        <a:off x="2903584" y="1137690"/>
        <a:ext cx="1363787" cy="1363528"/>
      </dsp:txXfrm>
    </dsp:sp>
    <dsp:sp modelId="{726D7243-5910-4263-B965-3418AFE8342F}">
      <dsp:nvSpPr>
        <dsp:cNvPr id="0" name=""/>
        <dsp:cNvSpPr/>
      </dsp:nvSpPr>
      <dsp:spPr>
        <a:xfrm rot="2700000">
          <a:off x="448232" y="796824"/>
          <a:ext cx="2044900" cy="204490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5CFFD8-7ABA-4226-8521-6370C1F0E111}">
      <dsp:nvSpPr>
        <dsp:cNvPr id="0" name=""/>
        <dsp:cNvSpPr/>
      </dsp:nvSpPr>
      <dsp:spPr>
        <a:xfrm>
          <a:off x="516684" y="864912"/>
          <a:ext cx="1909084" cy="190908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Professional</a:t>
          </a:r>
          <a:endParaRPr lang="en-US" sz="2100" kern="1200" dirty="0"/>
        </a:p>
      </dsp:txBody>
      <dsp:txXfrm>
        <a:off x="789877" y="1137690"/>
        <a:ext cx="1363787" cy="13635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F2C7DE-8B9C-FB4D-B3B5-C38781124C3D}" type="datetimeFigureOut">
              <a:rPr lang="en-US" smtClean="0"/>
              <a:t>3/2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DB31B6-C6A7-A742-B2BF-865404E40A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7167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5D5463-AEBF-834F-8181-3378A4ADFBCA}" type="datetimeFigureOut">
              <a:rPr lang="en-US" smtClean="0"/>
              <a:t>3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A15F56-8116-084F-8214-D6F992992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3323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A15F56-8116-084F-8214-D6F99299232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3525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01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34201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>
              <a:ea typeface="MS PGothic" charset="-128"/>
            </a:endParaRPr>
          </a:p>
        </p:txBody>
      </p:sp>
      <p:sp>
        <p:nvSpPr>
          <p:cNvPr id="34201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-128"/>
              </a:defRPr>
            </a:lvl9pPr>
          </a:lstStyle>
          <a:p>
            <a:pPr eaLnBrk="1" hangingPunct="1"/>
            <a:fld id="{72FFD288-6B8A-1044-AF9A-52DF62F663F4}" type="slidenum">
              <a:rPr lang="en-US" altLang="en-US" sz="1200">
                <a:solidFill>
                  <a:srgbClr val="000000"/>
                </a:solidFill>
                <a:latin typeface="Calibri" charset="0"/>
              </a:rPr>
              <a:pPr eaLnBrk="1" hangingPunct="1"/>
              <a:t>2</a:t>
            </a:fld>
            <a:endParaRPr lang="en-US" altLang="en-US" sz="1200">
              <a:solidFill>
                <a:srgbClr val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478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8C8C3D-9BF6-BD4F-B242-534AEEF566E0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768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A15F56-8116-084F-8214-D6F99299232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1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F84E1D-6238-4892-AA3E-C6CD454A9DE8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0972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866381"/>
            <a:ext cx="10521696" cy="261606"/>
          </a:xfrm>
          <a:prstGeom prst="rect">
            <a:avLst/>
          </a:prstGeom>
        </p:spPr>
        <p:txBody>
          <a:bodyPr lIns="90971" tIns="45486" rIns="90971" bIns="45486">
            <a:spAutoFit/>
          </a:bodyPr>
          <a:lstStyle>
            <a:lvl1pPr marL="0" indent="0" algn="ctr">
              <a:buNone/>
              <a:defRPr sz="1200"/>
            </a:lvl1pPr>
            <a:lvl2pPr marL="454868" indent="0" algn="ctr">
              <a:buNone/>
              <a:defRPr sz="2000"/>
            </a:lvl2pPr>
            <a:lvl3pPr marL="909769" indent="0" algn="ctr">
              <a:buNone/>
              <a:defRPr sz="1800"/>
            </a:lvl3pPr>
            <a:lvl4pPr marL="1364670" indent="0" algn="ctr">
              <a:buNone/>
              <a:defRPr sz="1600"/>
            </a:lvl4pPr>
            <a:lvl5pPr marL="1819559" indent="0" algn="ctr">
              <a:buNone/>
              <a:defRPr sz="1600"/>
            </a:lvl5pPr>
            <a:lvl6pPr marL="2274467" indent="0" algn="ctr">
              <a:buNone/>
              <a:defRPr sz="1600"/>
            </a:lvl6pPr>
            <a:lvl7pPr marL="2729339" indent="0" algn="ctr">
              <a:buNone/>
              <a:defRPr sz="1600"/>
            </a:lvl7pPr>
            <a:lvl8pPr marL="3184227" indent="0" algn="ctr">
              <a:buNone/>
              <a:defRPr sz="1600"/>
            </a:lvl8pPr>
            <a:lvl9pPr marL="3639101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/>
              </a:rPr>
              <a:t>|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4464889" y="1136829"/>
            <a:ext cx="3104444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838200" y="404718"/>
            <a:ext cx="10515600" cy="461665"/>
          </a:xfrm>
          <a:prstGeom prst="rect">
            <a:avLst/>
          </a:prstGeom>
        </p:spPr>
        <p:txBody>
          <a:bodyPr lIns="90971" tIns="45486" rIns="90971" bIns="45486" anchor="ctr">
            <a:sp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8F25100-AFC2-4148-9D77-C4FE30E76B7E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88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5194" y="4352465"/>
            <a:ext cx="6801612" cy="126508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CCA285-5430-9C43-9415-2C8343D54AE5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402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D9150A-EBB3-4647-8693-E6F666A6E5F1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31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B60AE3E-8733-254D-BF86-5A9301A0E0D8}" type="slidenum">
              <a:rPr lang="en-US" smtClean="0">
                <a:solidFill>
                  <a:srgbClr val="FFFFFF"/>
                </a:solidFill>
                <a:ea typeface="MS PGothic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082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F26E56-6229-CB45-BCE7-C5245F9A870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24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3C8689-AE3D-8C41-AAB4-7AC5C3DAF765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58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6E4911-858D-974A-9D63-4B22436302C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746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FD3CD09-1E0C-DA41-A29F-966CAC1BF2B4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3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3F7024-3DB8-8846-8AED-8BD733B028D0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61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12" y="937260"/>
            <a:ext cx="1298608" cy="498348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31136" y="937260"/>
            <a:ext cx="6198489" cy="4983480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19AC110-3BE0-6148-BA10-FB001CCB00C7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524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71" tIns="45486" rIns="90971" bIns="45486" rtlCol="0" anchor="ctr"/>
          <a:lstStyle/>
          <a:p>
            <a:pPr algn="ctr" defTabSz="909769"/>
            <a:endParaRPr lang="en-US" sz="1800">
              <a:solidFill>
                <a:prstClr val="white"/>
              </a:solidFill>
              <a:sym typeface="Helvetica Neue Bold Condense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866381"/>
            <a:ext cx="10521696" cy="261606"/>
          </a:xfrm>
          <a:prstGeom prst="rect">
            <a:avLst/>
          </a:prstGeom>
        </p:spPr>
        <p:txBody>
          <a:bodyPr lIns="90971" tIns="45486" rIns="90971" bIns="45486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4868" indent="0" algn="ctr">
              <a:buNone/>
              <a:defRPr sz="2000"/>
            </a:lvl2pPr>
            <a:lvl3pPr marL="909769" indent="0" algn="ctr">
              <a:buNone/>
              <a:defRPr sz="1800"/>
            </a:lvl3pPr>
            <a:lvl4pPr marL="1364670" indent="0" algn="ctr">
              <a:buNone/>
              <a:defRPr sz="1600"/>
            </a:lvl4pPr>
            <a:lvl5pPr marL="1819559" indent="0" algn="ctr">
              <a:buNone/>
              <a:defRPr sz="1600"/>
            </a:lvl5pPr>
            <a:lvl6pPr marL="2274467" indent="0" algn="ctr">
              <a:buNone/>
              <a:defRPr sz="1600"/>
            </a:lvl6pPr>
            <a:lvl7pPr marL="2729339" indent="0" algn="ctr">
              <a:buNone/>
              <a:defRPr sz="1600"/>
            </a:lvl7pPr>
            <a:lvl8pPr marL="3184227" indent="0" algn="ctr">
              <a:buNone/>
              <a:defRPr sz="1600"/>
            </a:lvl8pPr>
            <a:lvl9pPr marL="3639101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/>
              </a:rPr>
              <a:t>|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4464889" y="1136829"/>
            <a:ext cx="3104444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838200" y="404718"/>
            <a:ext cx="10515600" cy="461665"/>
          </a:xfrm>
          <a:prstGeom prst="rect">
            <a:avLst/>
          </a:prstGeom>
        </p:spPr>
        <p:txBody>
          <a:bodyPr lIns="90971" tIns="45486" rIns="90971" bIns="45486"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5545" y="762001"/>
            <a:ext cx="5689600" cy="304800"/>
          </a:xfrm>
          <a:prstGeom prst="rect">
            <a:avLst/>
          </a:prstGeom>
        </p:spPr>
        <p:txBody>
          <a:bodyPr lIns="91037" tIns="45519" rIns="91037" bIns="45519" anchor="ctr"/>
          <a:lstStyle>
            <a:lvl1pPr marL="0" indent="0" algn="l">
              <a:buNone/>
              <a:defRPr sz="1600" cap="all" baseline="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THIS IS EXAMPLE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15544" y="274638"/>
            <a:ext cx="11370056" cy="487362"/>
          </a:xfrm>
          <a:prstGeom prst="rect">
            <a:avLst/>
          </a:prstGeom>
        </p:spPr>
        <p:txBody>
          <a:bodyPr lIns="91037" tIns="45519" rIns="91037" bIns="45519" anchor="ctr"/>
          <a:lstStyle>
            <a:lvl1pPr marL="0" indent="0" algn="l">
              <a:buNone/>
              <a:defRPr sz="3200">
                <a:solidFill>
                  <a:srgbClr val="595959"/>
                </a:solidFill>
                <a:latin typeface="Calibri Light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www.domainname.co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Logo Company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101D46F-57A9-43DB-8B55-C38BE2226748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929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5545" y="762001"/>
            <a:ext cx="5689600" cy="304800"/>
          </a:xfrm>
          <a:prstGeom prst="rect">
            <a:avLst/>
          </a:prstGeom>
        </p:spPr>
        <p:txBody>
          <a:bodyPr lIns="90971" tIns="45486" rIns="90971" bIns="45486" anchor="ctr"/>
          <a:lstStyle>
            <a:lvl1pPr marL="0" indent="0" algn="l">
              <a:buNone/>
              <a:defRPr sz="1600" cap="all" baseline="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THIS IS EXAMPLE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15544" y="274638"/>
            <a:ext cx="11370056" cy="487362"/>
          </a:xfrm>
          <a:prstGeom prst="rect">
            <a:avLst/>
          </a:prstGeom>
        </p:spPr>
        <p:txBody>
          <a:bodyPr lIns="90971" tIns="45486" rIns="90971" bIns="45486" anchor="ctr"/>
          <a:lstStyle>
            <a:lvl1pPr marL="0" indent="0" algn="l">
              <a:buNone/>
              <a:defRPr sz="3200">
                <a:solidFill>
                  <a:srgbClr val="595959"/>
                </a:solidFill>
                <a:latin typeface="Calibri Light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www.domainname.co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Logo Company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101D46F-57A9-43DB-8B55-C38BE2226748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custDataLst>
      <p:tags r:id="rId1"/>
    </p:custDataLst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866381"/>
            <a:ext cx="10521696" cy="261606"/>
          </a:xfrm>
          <a:prstGeom prst="rect">
            <a:avLst/>
          </a:prstGeom>
        </p:spPr>
        <p:txBody>
          <a:bodyPr lIns="91037" tIns="45519" rIns="91037" bIns="45519">
            <a:spAutoFit/>
          </a:bodyPr>
          <a:lstStyle>
            <a:lvl1pPr marL="0" indent="0" algn="ctr">
              <a:buNone/>
              <a:defRPr sz="1200"/>
            </a:lvl1pPr>
            <a:lvl2pPr marL="455195" indent="0" algn="ctr">
              <a:buNone/>
              <a:defRPr sz="2000"/>
            </a:lvl2pPr>
            <a:lvl3pPr marL="910423" indent="0" algn="ctr">
              <a:buNone/>
              <a:defRPr sz="1800"/>
            </a:lvl3pPr>
            <a:lvl4pPr marL="1365650" indent="0" algn="ctr">
              <a:buNone/>
              <a:defRPr sz="1600"/>
            </a:lvl4pPr>
            <a:lvl5pPr marL="1820861" indent="0" algn="ctr">
              <a:buNone/>
              <a:defRPr sz="1600"/>
            </a:lvl5pPr>
            <a:lvl6pPr marL="2276091" indent="0" algn="ctr">
              <a:buNone/>
              <a:defRPr sz="1600"/>
            </a:lvl6pPr>
            <a:lvl7pPr marL="2731296" indent="0" algn="ctr">
              <a:buNone/>
              <a:defRPr sz="1600"/>
            </a:lvl7pPr>
            <a:lvl8pPr marL="3186509" indent="0" algn="ctr">
              <a:buNone/>
              <a:defRPr sz="1600"/>
            </a:lvl8pPr>
            <a:lvl9pPr marL="36417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/>
              </a:rPr>
              <a:t>|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4464870" y="1136829"/>
            <a:ext cx="3104444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838200" y="404718"/>
            <a:ext cx="10515600" cy="461665"/>
          </a:xfrm>
          <a:prstGeom prst="rect">
            <a:avLst/>
          </a:prstGeom>
        </p:spPr>
        <p:txBody>
          <a:bodyPr lIns="91037" tIns="45519" rIns="91037" bIns="45519" anchor="ctr">
            <a:sp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37" tIns="45519" rIns="91037" bIns="45519" rtlCol="0" anchor="ctr"/>
          <a:lstStyle/>
          <a:p>
            <a:pPr algn="ctr" defTabSz="910423"/>
            <a:endParaRPr lang="en-US" sz="1800">
              <a:solidFill>
                <a:prstClr val="white"/>
              </a:solidFill>
              <a:sym typeface="Helvetica Neue Bold Condense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866381"/>
            <a:ext cx="10521696" cy="261606"/>
          </a:xfrm>
          <a:prstGeom prst="rect">
            <a:avLst/>
          </a:prstGeom>
        </p:spPr>
        <p:txBody>
          <a:bodyPr lIns="91037" tIns="45519" rIns="91037" bIns="45519"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5195" indent="0" algn="ctr">
              <a:buNone/>
              <a:defRPr sz="2000"/>
            </a:lvl2pPr>
            <a:lvl3pPr marL="910423" indent="0" algn="ctr">
              <a:buNone/>
              <a:defRPr sz="1800"/>
            </a:lvl3pPr>
            <a:lvl4pPr marL="1365650" indent="0" algn="ctr">
              <a:buNone/>
              <a:defRPr sz="1600"/>
            </a:lvl4pPr>
            <a:lvl5pPr marL="1820861" indent="0" algn="ctr">
              <a:buNone/>
              <a:defRPr sz="1600"/>
            </a:lvl5pPr>
            <a:lvl6pPr marL="2276091" indent="0" algn="ctr">
              <a:buNone/>
              <a:defRPr sz="1600"/>
            </a:lvl6pPr>
            <a:lvl7pPr marL="2731296" indent="0" algn="ctr">
              <a:buNone/>
              <a:defRPr sz="1600"/>
            </a:lvl7pPr>
            <a:lvl8pPr marL="3186509" indent="0" algn="ctr">
              <a:buNone/>
              <a:defRPr sz="1600"/>
            </a:lvl8pPr>
            <a:lvl9pPr marL="36417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/>
              </a:rPr>
              <a:t>|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4464870" y="1136829"/>
            <a:ext cx="3104444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838200" y="404718"/>
            <a:ext cx="10515600" cy="461665"/>
          </a:xfrm>
          <a:prstGeom prst="rect">
            <a:avLst/>
          </a:prstGeom>
        </p:spPr>
        <p:txBody>
          <a:bodyPr lIns="91037" tIns="45519" rIns="91037" bIns="45519"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5545" y="762001"/>
            <a:ext cx="5689600" cy="304800"/>
          </a:xfrm>
          <a:prstGeom prst="rect">
            <a:avLst/>
          </a:prstGeom>
        </p:spPr>
        <p:txBody>
          <a:bodyPr lIns="91037" tIns="45519" rIns="91037" bIns="45519" anchor="ctr"/>
          <a:lstStyle>
            <a:lvl1pPr marL="0" indent="0" algn="l">
              <a:buNone/>
              <a:defRPr sz="1600" cap="all" baseline="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THIS IS EXAMPLE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15544" y="274638"/>
            <a:ext cx="11370056" cy="487362"/>
          </a:xfrm>
          <a:prstGeom prst="rect">
            <a:avLst/>
          </a:prstGeom>
        </p:spPr>
        <p:txBody>
          <a:bodyPr lIns="91037" tIns="45519" rIns="91037" bIns="45519" anchor="ctr"/>
          <a:lstStyle>
            <a:lvl1pPr marL="0" indent="0" algn="l">
              <a:buNone/>
              <a:defRPr sz="3200">
                <a:solidFill>
                  <a:srgbClr val="595959"/>
                </a:solidFill>
                <a:latin typeface="Calibri Light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www.domainname.co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Logo Company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101D46F-57A9-43DB-8B55-C38BE2226748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custDataLst>
      <p:tags r:id="rId1"/>
    </p:custDataLst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latin typeface="Calibri Light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latin typeface="Calibri Ligh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1F19B2-3B06-4542-8CE9-E30F2590F45D}" type="slidenum">
              <a:rPr lang="en-US">
                <a:solidFill>
                  <a:prstClr val="black">
                    <a:tint val="75000"/>
                  </a:prstClr>
                </a:solidFill>
                <a:latin typeface="Calibri Light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 Light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  <a:prstGeom prst="rect">
            <a:avLst/>
          </a:prstGeom>
        </p:spPr>
        <p:txBody>
          <a:bodyPr lIns="91037" tIns="45519" rIns="91037" bIns="45519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981200"/>
            <a:ext cx="10363200" cy="4114800"/>
          </a:xfrm>
          <a:prstGeom prst="rect">
            <a:avLst/>
          </a:prstGeom>
        </p:spPr>
        <p:txBody>
          <a:bodyPr lIns="91037" tIns="45519" rIns="91037" bIns="45519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latin typeface="Calibri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latin typeface="Calibri Ligh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2CEDED7-3CAF-2E45-9920-A7F5BEA02701}" type="slidenum">
              <a:rPr lang="en-US">
                <a:solidFill>
                  <a:prstClr val="black">
                    <a:tint val="75000"/>
                  </a:prstClr>
                </a:solidFill>
                <a:latin typeface="Calibri Light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 Light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ABBDCAC-0903-5B40-8D69-E7B92A55ED47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342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tags" Target="../tags/tag13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53142" y="0"/>
            <a:ext cx="12362075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6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09769">
                <a:defRPr/>
              </a:pPr>
              <a:endParaRPr lang="en-US" sz="1800">
                <a:solidFill>
                  <a:prstClr val="white"/>
                </a:solidFill>
                <a:sym typeface="Helvetica Neue Bold Condensed"/>
              </a:endParaRPr>
            </a:p>
          </p:txBody>
        </p:sp>
        <p:grpSp>
          <p:nvGrpSpPr>
            <p:cNvPr id="15" name="Group 14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09769">
                  <a:defRPr/>
                </a:pPr>
                <a:endParaRPr lang="en-US" sz="1800">
                  <a:solidFill>
                    <a:prstClr val="white"/>
                  </a:solidFill>
                  <a:sym typeface="Helvetica Neue Bold Condensed"/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09769">
                  <a:defRPr/>
                </a:pPr>
                <a:endParaRPr lang="en-US" sz="1800">
                  <a:solidFill>
                    <a:prstClr val="white"/>
                  </a:solidFill>
                  <a:sym typeface="Helvetica Neue Bold Condensed"/>
                </a:endParaRPr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8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0" y="6356451"/>
            <a:ext cx="2743200" cy="365125"/>
          </a:xfrm>
          <a:prstGeom prst="rect">
            <a:avLst/>
          </a:prstGeom>
        </p:spPr>
        <p:txBody>
          <a:bodyPr vert="horz" lIns="90971" tIns="45486" rIns="90971" bIns="4548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9769"/>
            <a:r>
              <a:rPr lang="en-US" smtClean="0">
                <a:solidFill>
                  <a:prstClr val="black">
                    <a:tint val="75000"/>
                  </a:prstClr>
                </a:solidFill>
                <a:sym typeface="Helvetica Neue Bold Condensed"/>
              </a:rPr>
              <a:t>PRESENTER NAME</a:t>
            </a:r>
            <a:endParaRPr lang="en-US" dirty="0">
              <a:solidFill>
                <a:prstClr val="black">
                  <a:tint val="75000"/>
                </a:prstClr>
              </a:solidFill>
              <a:sym typeface="Helvetica Neue Bold Condensed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51"/>
            <a:ext cx="4114800" cy="365125"/>
          </a:xfrm>
          <a:prstGeom prst="rect">
            <a:avLst/>
          </a:prstGeom>
        </p:spPr>
        <p:txBody>
          <a:bodyPr vert="horz" lIns="90971" tIns="45486" rIns="90971" bIns="4548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9769"/>
            <a:r>
              <a:rPr lang="en-US" smtClean="0">
                <a:solidFill>
                  <a:prstClr val="black">
                    <a:tint val="75000"/>
                  </a:prstClr>
                </a:solidFill>
                <a:sym typeface="Helvetica Neue Bold Condensed"/>
              </a:rPr>
              <a:t>COMPANY NAME</a:t>
            </a:r>
            <a:endParaRPr lang="en-US" dirty="0">
              <a:solidFill>
                <a:prstClr val="black">
                  <a:tint val="75000"/>
                </a:prstClr>
              </a:solidFill>
              <a:sym typeface="Helvetica Neue Bold Condensed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6167" y="6356451"/>
            <a:ext cx="2743200" cy="365125"/>
          </a:xfrm>
          <a:prstGeom prst="rect">
            <a:avLst/>
          </a:prstGeom>
        </p:spPr>
        <p:txBody>
          <a:bodyPr vert="horz" lIns="90971" tIns="45486" rIns="90971" bIns="4548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9769"/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  <a:sym typeface="Helvetica Neue Bold Condensed"/>
              </a:rPr>
              <a:pPr defTabSz="909769"/>
              <a:t>‹#›</a:t>
            </a:fld>
            <a:r>
              <a:rPr lang="en-US" smtClean="0">
                <a:solidFill>
                  <a:prstClr val="black">
                    <a:tint val="75000"/>
                  </a:prstClr>
                </a:solidFill>
                <a:sym typeface="Helvetica Neue Bold Condensed"/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  <a:sym typeface="Helvetica Neue Bold Condensed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1040168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0976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428" indent="-227428" algn="l" defTabSz="90976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2335" indent="-227428" algn="l" defTabSz="9097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7231" indent="-227428" algn="l" defTabSz="9097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2114" indent="-227428" algn="l" defTabSz="9097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007" indent="-227428" algn="l" defTabSz="9097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1907" indent="-227428" algn="l" defTabSz="9097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777" indent="-227428" algn="l" defTabSz="9097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1671" indent="-227428" algn="l" defTabSz="9097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66538" indent="-227428" algn="l" defTabSz="9097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97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868" algn="l" defTabSz="9097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769" algn="l" defTabSz="9097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4670" algn="l" defTabSz="9097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9559" algn="l" defTabSz="9097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4467" algn="l" defTabSz="9097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339" algn="l" defTabSz="9097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4227" algn="l" defTabSz="9097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9101" algn="l" defTabSz="9097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53142" y="0"/>
            <a:ext cx="12362075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8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0423">
                <a:defRPr/>
              </a:pPr>
              <a:endParaRPr lang="en-US" sz="1800">
                <a:solidFill>
                  <a:prstClr val="white"/>
                </a:solidFill>
                <a:sym typeface="Helvetica Neue Bold Condensed"/>
              </a:endParaRPr>
            </a:p>
          </p:txBody>
        </p:sp>
        <p:grpSp>
          <p:nvGrpSpPr>
            <p:cNvPr id="15" name="Group 14"/>
            <p:cNvGrpSpPr/>
            <p:nvPr userDrawn="1">
              <p:custDataLst>
                <p:tags r:id="rId9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0423">
                  <a:defRPr/>
                </a:pPr>
                <a:endParaRPr lang="en-US" sz="1800">
                  <a:solidFill>
                    <a:prstClr val="white"/>
                  </a:solidFill>
                  <a:sym typeface="Helvetica Neue Bold Condensed"/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0423">
                  <a:defRPr/>
                </a:pPr>
                <a:endParaRPr lang="en-US" sz="1800">
                  <a:solidFill>
                    <a:prstClr val="white"/>
                  </a:solidFill>
                  <a:sym typeface="Helvetica Neue Bold Condensed"/>
                </a:endParaRPr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10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0" y="6356437"/>
            <a:ext cx="2743200" cy="365125"/>
          </a:xfrm>
          <a:prstGeom prst="rect">
            <a:avLst/>
          </a:prstGeom>
        </p:spPr>
        <p:txBody>
          <a:bodyPr vert="horz" lIns="91037" tIns="45519" rIns="91037" bIns="4551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0423"/>
            <a:r>
              <a:rPr lang="en-US" smtClean="0">
                <a:solidFill>
                  <a:prstClr val="black">
                    <a:tint val="75000"/>
                  </a:prstClr>
                </a:solidFill>
                <a:sym typeface="Helvetica Neue Bold Condensed"/>
              </a:rPr>
              <a:t>PRESENTER NAME</a:t>
            </a:r>
            <a:endParaRPr lang="en-US" dirty="0">
              <a:solidFill>
                <a:prstClr val="black">
                  <a:tint val="75000"/>
                </a:prstClr>
              </a:solidFill>
              <a:sym typeface="Helvetica Neue Bold Condensed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37"/>
            <a:ext cx="4114800" cy="365125"/>
          </a:xfrm>
          <a:prstGeom prst="rect">
            <a:avLst/>
          </a:prstGeom>
        </p:spPr>
        <p:txBody>
          <a:bodyPr vert="horz" lIns="91037" tIns="45519" rIns="91037" bIns="4551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0423"/>
            <a:r>
              <a:rPr lang="en-US" smtClean="0">
                <a:solidFill>
                  <a:prstClr val="black">
                    <a:tint val="75000"/>
                  </a:prstClr>
                </a:solidFill>
                <a:sym typeface="Helvetica Neue Bold Condensed"/>
              </a:rPr>
              <a:t>COMPANY NAME</a:t>
            </a:r>
            <a:endParaRPr lang="en-US" dirty="0">
              <a:solidFill>
                <a:prstClr val="black">
                  <a:tint val="75000"/>
                </a:prstClr>
              </a:solidFill>
              <a:sym typeface="Helvetica Neue Bold Condensed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6167" y="6356437"/>
            <a:ext cx="2743200" cy="365125"/>
          </a:xfrm>
          <a:prstGeom prst="rect">
            <a:avLst/>
          </a:prstGeom>
        </p:spPr>
        <p:txBody>
          <a:bodyPr vert="horz" lIns="91037" tIns="45519" rIns="91037" bIns="4551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0423"/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  <a:sym typeface="Helvetica Neue Bold Condensed"/>
              </a:rPr>
              <a:pPr defTabSz="910423"/>
              <a:t>‹#›</a:t>
            </a:fld>
            <a:r>
              <a:rPr lang="en-US" smtClean="0">
                <a:solidFill>
                  <a:prstClr val="black">
                    <a:tint val="75000"/>
                  </a:prstClr>
                </a:solidFill>
                <a:sym typeface="Helvetica Neue Bold Condensed"/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  <a:sym typeface="Helvetica Neue Bold Condensed"/>
            </a:endParaRPr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38349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0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593" indent="-227593" algn="l" defTabSz="910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2825" indent="-227593" algn="l" defTabSz="910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8043" indent="-227593" algn="l" defTabSz="910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3253" indent="-227593" algn="l" defTabSz="910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48475" indent="-227593" algn="l" defTabSz="910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699" indent="-227593" algn="l" defTabSz="910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58899" indent="-227593" algn="l" defTabSz="910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19" indent="-227593" algn="l" defTabSz="910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69310" indent="-227593" algn="l" defTabSz="910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0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195" algn="l" defTabSz="910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423" algn="l" defTabSz="910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650" algn="l" defTabSz="910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861" algn="l" defTabSz="910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091" algn="l" defTabSz="910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296" algn="l" defTabSz="910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509" algn="l" defTabSz="910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709" algn="l" defTabSz="910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2231136" y="964692"/>
            <a:ext cx="7729728" cy="1188720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31136" y="2638044"/>
            <a:ext cx="7729728" cy="3101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21429" y="6238816"/>
            <a:ext cx="2753746" cy="3239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5C051EE-3964-8447-8B07-EC257F867A7E}" type="datetimeFigureOut">
              <a:rPr lang="en-US" altLang="en-US" smtClean="0">
                <a:ea typeface="MS PGothic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29/2019</a:t>
            </a:fld>
            <a:endParaRPr lang="en-US" altLang="en-US">
              <a:ea typeface="MS PGothic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0" y="6236208"/>
            <a:ext cx="5901189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100" spc="0" baseline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EAF2199-C919-0443-BE24-477A732BF73E}" type="slidenum">
              <a:rPr lang="en-US" altLang="en-US" smtClean="0">
                <a:ea typeface="MS PGothic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3891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3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4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0.xml"/><Relationship Id="rId4" Type="http://schemas.openxmlformats.org/officeDocument/2006/relationships/image" Target="../media/image2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4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2.jp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4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jpe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9.jpeg"/><Relationship Id="rId11" Type="http://schemas.openxmlformats.org/officeDocument/2006/relationships/image" Target="../media/image64.jpeg"/><Relationship Id="rId5" Type="http://schemas.openxmlformats.org/officeDocument/2006/relationships/image" Target="../media/image58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gif"/><Relationship Id="rId14" Type="http://schemas.openxmlformats.org/officeDocument/2006/relationships/image" Target="../media/image67.tiff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6500" y="1143530"/>
            <a:ext cx="8636000" cy="2387600"/>
          </a:xfrm>
        </p:spPr>
        <p:txBody>
          <a:bodyPr>
            <a:normAutofit/>
          </a:bodyPr>
          <a:lstStyle/>
          <a:p>
            <a:r>
              <a:rPr lang="en-US" dirty="0"/>
              <a:t>EDDMapS Pro – Is this invasive species mapping tool right for your program?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49068" y="3805234"/>
            <a:ext cx="8500533" cy="1655762"/>
          </a:xfrm>
        </p:spPr>
        <p:txBody>
          <a:bodyPr>
            <a:noAutofit/>
          </a:bodyPr>
          <a:lstStyle/>
          <a:p>
            <a:r>
              <a:rPr lang="en-US" sz="3200" dirty="0"/>
              <a:t>Rebekah </a:t>
            </a:r>
            <a:r>
              <a:rPr lang="en-US" sz="3200" dirty="0" smtClean="0"/>
              <a:t>D.  Wallace and Charles </a:t>
            </a:r>
            <a:r>
              <a:rPr lang="en-US" sz="3200" dirty="0" err="1" smtClean="0"/>
              <a:t>Bargeron</a:t>
            </a:r>
            <a:endParaRPr lang="en-US" sz="3200" dirty="0"/>
          </a:p>
          <a:p>
            <a:r>
              <a:rPr lang="en-US" sz="3200" dirty="0"/>
              <a:t>University of Georgia</a:t>
            </a:r>
          </a:p>
          <a:p>
            <a:r>
              <a:rPr lang="en-US" sz="3200" dirty="0"/>
              <a:t>Center for Invasive Species and Ecosystem Health</a:t>
            </a:r>
            <a:br>
              <a:rPr lang="en-US" sz="3200" dirty="0"/>
            </a:br>
            <a:r>
              <a:rPr lang="en-US" sz="3200" dirty="0"/>
              <a:t>Tifton Georgia USA</a:t>
            </a:r>
          </a:p>
        </p:txBody>
      </p:sp>
    </p:spTree>
    <p:extLst>
      <p:ext uri="{BB962C8B-B14F-4D97-AF65-F5344CB8AC3E}">
        <p14:creationId xmlns:p14="http://schemas.microsoft.com/office/powerpoint/2010/main" val="127500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3050" y="259842"/>
            <a:ext cx="9124950" cy="1188720"/>
          </a:xfrm>
        </p:spPr>
        <p:txBody>
          <a:bodyPr/>
          <a:lstStyle/>
          <a:p>
            <a:r>
              <a:rPr lang="en-US" dirty="0" smtClean="0"/>
              <a:t>Smartphones are Not just for “the Kids”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1136" y="1736256"/>
            <a:ext cx="7729728" cy="4674070"/>
          </a:xfrm>
        </p:spPr>
      </p:pic>
    </p:spTree>
    <p:extLst>
      <p:ext uri="{BB962C8B-B14F-4D97-AF65-F5344CB8AC3E}">
        <p14:creationId xmlns:p14="http://schemas.microsoft.com/office/powerpoint/2010/main" val="241390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2942" y="488950"/>
            <a:ext cx="9146116" cy="5875868"/>
          </a:xfrm>
        </p:spPr>
      </p:pic>
      <p:sp>
        <p:nvSpPr>
          <p:cNvPr id="5" name="TextBox 4"/>
          <p:cNvSpPr txBox="1"/>
          <p:nvPr/>
        </p:nvSpPr>
        <p:spPr>
          <a:xfrm>
            <a:off x="1524000" y="6364818"/>
            <a:ext cx="4572000" cy="37253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effectLst>
                  <a:outerShdw blurRad="50800" dist="76200" algn="l" rotWithShape="0">
                    <a:prstClr val="black">
                      <a:alpha val="40000"/>
                    </a:prstClr>
                  </a:outerShdw>
                </a:effectLst>
              </a:rPr>
              <a:t>Skip Snow, National Park Service, </a:t>
            </a:r>
            <a:r>
              <a:rPr lang="en-US" dirty="0" err="1">
                <a:solidFill>
                  <a:schemeClr val="bg1"/>
                </a:solidFill>
                <a:effectLst>
                  <a:outerShdw blurRad="50800" dist="76200" algn="l" rotWithShape="0">
                    <a:prstClr val="black">
                      <a:alpha val="40000"/>
                    </a:prstClr>
                  </a:outerShdw>
                </a:effectLst>
              </a:rPr>
              <a:t>Bugwood.org</a:t>
            </a:r>
            <a:endParaRPr lang="en-US" dirty="0">
              <a:solidFill>
                <a:schemeClr val="bg1"/>
              </a:solidFill>
              <a:effectLst>
                <a:outerShdw blurRad="50800" dist="76200" algn="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53362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86039" y="38100"/>
            <a:ext cx="7019925" cy="678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02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09800" y="2226734"/>
            <a:ext cx="7772400" cy="2404532"/>
          </a:xfrm>
        </p:spPr>
        <p:txBody>
          <a:bodyPr>
            <a:noAutofit/>
          </a:bodyPr>
          <a:lstStyle/>
          <a:p>
            <a:r>
              <a:rPr lang="en-US" sz="8800" dirty="0" smtClean="0"/>
              <a:t>How Does </a:t>
            </a:r>
            <a:r>
              <a:rPr lang="en-US" sz="8800" dirty="0"/>
              <a:t>It </a:t>
            </a:r>
            <a:r>
              <a:rPr lang="en-US" sz="8800" dirty="0" smtClean="0"/>
              <a:t>Work?</a:t>
            </a:r>
            <a:endParaRPr lang="en-US" sz="8800" dirty="0"/>
          </a:p>
        </p:txBody>
      </p:sp>
    </p:spTree>
    <p:extLst>
      <p:ext uri="{BB962C8B-B14F-4D97-AF65-F5344CB8AC3E}">
        <p14:creationId xmlns:p14="http://schemas.microsoft.com/office/powerpoint/2010/main" val="232052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71383277"/>
              </p:ext>
            </p:extLst>
          </p:nvPr>
        </p:nvGraphicFramePr>
        <p:xfrm>
          <a:off x="614855" y="228600"/>
          <a:ext cx="10972799" cy="6324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32483" name="Picture 4" descr="EDDMapS-logo-hi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20150" y="5562600"/>
            <a:ext cx="3048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366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113980970"/>
              </p:ext>
            </p:extLst>
          </p:nvPr>
        </p:nvGraphicFramePr>
        <p:xfrm>
          <a:off x="1828800" y="381000"/>
          <a:ext cx="8382000" cy="609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33507" name="Picture 3" descr="EDDMapS-logo-hi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950" y="5562600"/>
            <a:ext cx="3048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347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517790010"/>
              </p:ext>
            </p:extLst>
          </p:nvPr>
        </p:nvGraphicFramePr>
        <p:xfrm>
          <a:off x="1123950" y="228599"/>
          <a:ext cx="11210925" cy="7591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38627" name="Picture 3" descr="EDDMapS-logo-hi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950" y="5562600"/>
            <a:ext cx="3048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512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09800" y="2226734"/>
            <a:ext cx="7772400" cy="2404532"/>
          </a:xfrm>
        </p:spPr>
        <p:txBody>
          <a:bodyPr>
            <a:noAutofit/>
          </a:bodyPr>
          <a:lstStyle/>
          <a:p>
            <a:r>
              <a:rPr lang="en-US" sz="8800" dirty="0"/>
              <a:t>Has It Worked?</a:t>
            </a:r>
          </a:p>
        </p:txBody>
      </p:sp>
    </p:spTree>
    <p:extLst>
      <p:ext uri="{BB962C8B-B14F-4D97-AF65-F5344CB8AC3E}">
        <p14:creationId xmlns:p14="http://schemas.microsoft.com/office/powerpoint/2010/main" val="99290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545" name="Title 1"/>
          <p:cNvSpPr>
            <a:spLocks noGrp="1"/>
          </p:cNvSpPr>
          <p:nvPr>
            <p:ph type="title"/>
          </p:nvPr>
        </p:nvSpPr>
        <p:spPr>
          <a:xfrm>
            <a:off x="2231136" y="323342"/>
            <a:ext cx="7729728" cy="1188720"/>
          </a:xfrm>
        </p:spPr>
        <p:txBody>
          <a:bodyPr/>
          <a:lstStyle/>
          <a:p>
            <a:r>
              <a:rPr lang="en-US" altLang="en-US" sz="4500" dirty="0" smtClean="0">
                <a:latin typeface="Georgia" charset="0"/>
                <a:ea typeface="MS PGothic" charset="-128"/>
                <a:cs typeface="MS PGothic" charset="-128"/>
              </a:rPr>
              <a:t>All App </a:t>
            </a:r>
            <a:r>
              <a:rPr lang="en-US" altLang="en-US" sz="4500" dirty="0">
                <a:latin typeface="Georgia" charset="0"/>
                <a:ea typeface="MS PGothic" charset="-128"/>
                <a:cs typeface="MS PGothic" charset="-128"/>
              </a:rPr>
              <a:t>Download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9081008"/>
              </p:ext>
            </p:extLst>
          </p:nvPr>
        </p:nvGraphicFramePr>
        <p:xfrm>
          <a:off x="1981200" y="1600201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3319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1136" y="209042"/>
            <a:ext cx="7729728" cy="1188720"/>
          </a:xfrm>
        </p:spPr>
        <p:txBody>
          <a:bodyPr>
            <a:normAutofit fontScale="90000"/>
          </a:bodyPr>
          <a:lstStyle/>
          <a:p>
            <a:r>
              <a:rPr lang="en-US" sz="4800" dirty="0">
                <a:latin typeface="Georgia" charset="0"/>
                <a:ea typeface="Georgia" charset="0"/>
                <a:cs typeface="Georgia" charset="0"/>
              </a:rPr>
              <a:t>EDDMapS Florida Statistics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2460195751"/>
              </p:ext>
            </p:extLst>
          </p:nvPr>
        </p:nvGraphicFramePr>
        <p:xfrm>
          <a:off x="2119779" y="1432614"/>
          <a:ext cx="7974668" cy="566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493388" y="2089806"/>
            <a:ext cx="4203372" cy="954065"/>
          </a:xfrm>
          <a:prstGeom prst="rect">
            <a:avLst/>
          </a:prstGeom>
          <a:noFill/>
        </p:spPr>
        <p:txBody>
          <a:bodyPr wrap="none" lIns="91397" tIns="45699" rIns="91397" bIns="45699" rtlCol="0">
            <a:spAutoFit/>
          </a:bodyPr>
          <a:lstStyle/>
          <a:p>
            <a:pPr algn="ctr" defTabSz="913977"/>
            <a:r>
              <a:rPr lang="en-US" sz="2800" b="1" dirty="0"/>
              <a:t>What were the reports?</a:t>
            </a:r>
          </a:p>
          <a:p>
            <a:pPr algn="ctr" defTabSz="913977"/>
            <a:r>
              <a:rPr lang="en-US" sz="2800" b="1" dirty="0" smtClean="0"/>
              <a:t>Overall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87500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1700" y="3848100"/>
            <a:ext cx="7848600" cy="1905000"/>
          </a:xfrm>
        </p:spPr>
        <p:txBody>
          <a:bodyPr>
            <a:normAutofit lnSpcReduction="10000"/>
          </a:bodyPr>
          <a:lstStyle/>
          <a:p>
            <a:pPr algn="ctr">
              <a:defRPr/>
            </a:pPr>
            <a:r>
              <a:rPr lang="en-US" sz="4400" b="1" dirty="0"/>
              <a:t>The National Platform for Invasive Species Early Detection and Mapping</a:t>
            </a:r>
            <a:endParaRPr lang="en-US" sz="3600" b="1" dirty="0"/>
          </a:p>
        </p:txBody>
      </p:sp>
      <p:pic>
        <p:nvPicPr>
          <p:cNvPr id="340994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8188" y="762000"/>
            <a:ext cx="8229600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280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1136" y="189992"/>
            <a:ext cx="7729728" cy="1188720"/>
          </a:xfrm>
        </p:spPr>
        <p:txBody>
          <a:bodyPr>
            <a:normAutofit fontScale="90000"/>
          </a:bodyPr>
          <a:lstStyle/>
          <a:p>
            <a:r>
              <a:rPr lang="en-US" sz="4800" dirty="0">
                <a:latin typeface="Georgia" charset="0"/>
                <a:ea typeface="Georgia" charset="0"/>
                <a:cs typeface="Georgia" charset="0"/>
              </a:rPr>
              <a:t>EDDMapS Florida Statistics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962494380"/>
              </p:ext>
            </p:extLst>
          </p:nvPr>
        </p:nvGraphicFramePr>
        <p:xfrm>
          <a:off x="2119779" y="1394514"/>
          <a:ext cx="7974668" cy="566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520375" y="2080914"/>
            <a:ext cx="4203372" cy="954065"/>
          </a:xfrm>
          <a:prstGeom prst="rect">
            <a:avLst/>
          </a:prstGeom>
          <a:noFill/>
        </p:spPr>
        <p:txBody>
          <a:bodyPr wrap="none" lIns="91397" tIns="45699" rIns="91397" bIns="45699" rtlCol="0">
            <a:spAutoFit/>
          </a:bodyPr>
          <a:lstStyle/>
          <a:p>
            <a:pPr defTabSz="913977"/>
            <a:r>
              <a:rPr lang="en-US" sz="2800" b="1" dirty="0"/>
              <a:t>What were the reports?</a:t>
            </a:r>
          </a:p>
          <a:p>
            <a:pPr defTabSz="913977"/>
            <a:r>
              <a:rPr lang="en-US" sz="2800" b="1" dirty="0"/>
              <a:t>	Smartphones</a:t>
            </a:r>
          </a:p>
        </p:txBody>
      </p:sp>
    </p:spTree>
    <p:extLst>
      <p:ext uri="{BB962C8B-B14F-4D97-AF65-F5344CB8AC3E}">
        <p14:creationId xmlns:p14="http://schemas.microsoft.com/office/powerpoint/2010/main" val="99959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2434103936"/>
              </p:ext>
            </p:extLst>
          </p:nvPr>
        </p:nvGraphicFramePr>
        <p:xfrm>
          <a:off x="619125" y="1149350"/>
          <a:ext cx="10963275" cy="52523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12656" y="145542"/>
            <a:ext cx="8566688" cy="857758"/>
          </a:xfrm>
        </p:spPr>
        <p:txBody>
          <a:bodyPr/>
          <a:lstStyle/>
          <a:p>
            <a:r>
              <a:rPr lang="en-US" dirty="0" smtClean="0"/>
              <a:t>Observations Sent to EDDMapS By Ye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28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1096519" y="1257681"/>
            <a:ext cx="4270248" cy="704087"/>
          </a:xfrm>
        </p:spPr>
        <p:txBody>
          <a:bodyPr/>
          <a:lstStyle/>
          <a:p>
            <a:r>
              <a:rPr lang="en-US" sz="3600" dirty="0" smtClean="0"/>
              <a:t>SEEDN</a:t>
            </a:r>
            <a:endParaRPr lang="en-US" sz="3600" dirty="0"/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609601" y="2133599"/>
            <a:ext cx="5244084" cy="4410075"/>
          </a:xfrm>
        </p:spPr>
        <p:txBody>
          <a:bodyPr>
            <a:normAutofit/>
          </a:bodyPr>
          <a:lstStyle/>
          <a:p>
            <a:r>
              <a:rPr lang="en-US" sz="2400" dirty="0" smtClean="0"/>
              <a:t>Designed for Volunteers, Citizen Scientists, Casual Observers, etc.</a:t>
            </a:r>
          </a:p>
          <a:p>
            <a:r>
              <a:rPr lang="en-US" sz="2400" dirty="0" smtClean="0"/>
              <a:t>Field Guide embedded in app</a:t>
            </a:r>
          </a:p>
          <a:p>
            <a:r>
              <a:rPr lang="en-US" sz="2400" dirty="0" smtClean="0"/>
              <a:t>Record data, saved locally on phone</a:t>
            </a:r>
          </a:p>
          <a:p>
            <a:r>
              <a:rPr lang="en-US" sz="2400" dirty="0" smtClean="0"/>
              <a:t>Must have mobile service to view existing data</a:t>
            </a:r>
          </a:p>
          <a:p>
            <a:pPr lvl="1"/>
            <a:r>
              <a:rPr lang="en-US" sz="2000" dirty="0" smtClean="0"/>
              <a:t>Data not downloadable</a:t>
            </a:r>
          </a:p>
          <a:p>
            <a:r>
              <a:rPr lang="en-US" sz="2400" dirty="0" smtClean="0"/>
              <a:t>No revisit record option</a:t>
            </a:r>
          </a:p>
          <a:p>
            <a:r>
              <a:rPr lang="en-US" sz="2400" dirty="0" smtClean="0"/>
              <a:t>Upload when you have wireless signal</a:t>
            </a:r>
            <a:endParaRPr lang="en-US" sz="240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>
          <a:xfrm>
            <a:off x="6338316" y="2133599"/>
            <a:ext cx="5244084" cy="4410075"/>
          </a:xfrm>
        </p:spPr>
        <p:txBody>
          <a:bodyPr>
            <a:noAutofit/>
          </a:bodyPr>
          <a:lstStyle/>
          <a:p>
            <a:r>
              <a:rPr lang="en-US" sz="2400" dirty="0"/>
              <a:t>Designed for professionals to use in low/no mobile signal areas</a:t>
            </a:r>
          </a:p>
          <a:p>
            <a:r>
              <a:rPr lang="en-US" sz="2400" dirty="0"/>
              <a:t>No embedded field guide in app</a:t>
            </a:r>
          </a:p>
          <a:p>
            <a:r>
              <a:rPr lang="en-US" sz="2400" dirty="0"/>
              <a:t>Record data, saved locally on phone</a:t>
            </a:r>
          </a:p>
          <a:p>
            <a:r>
              <a:rPr lang="en-US" sz="2400" dirty="0" smtClean="0"/>
              <a:t>Downloadable </a:t>
            </a:r>
            <a:r>
              <a:rPr lang="en-US" sz="2400" dirty="0"/>
              <a:t>data sets (by county)</a:t>
            </a:r>
          </a:p>
          <a:p>
            <a:r>
              <a:rPr lang="en-US" sz="2400" dirty="0"/>
              <a:t>View records offline, in the field</a:t>
            </a:r>
          </a:p>
          <a:p>
            <a:r>
              <a:rPr lang="en-US" sz="2400" dirty="0" smtClean="0"/>
              <a:t>Revisit </a:t>
            </a:r>
            <a:r>
              <a:rPr lang="en-US" sz="2400" dirty="0"/>
              <a:t>existing records</a:t>
            </a:r>
          </a:p>
          <a:p>
            <a:r>
              <a:rPr lang="en-US" sz="2400" dirty="0"/>
              <a:t>Upload when you have wireless signa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25234" y="1257680"/>
            <a:ext cx="4270248" cy="704087"/>
          </a:xfrm>
        </p:spPr>
        <p:txBody>
          <a:bodyPr>
            <a:normAutofit/>
          </a:bodyPr>
          <a:lstStyle/>
          <a:p>
            <a:r>
              <a:rPr lang="en-US" sz="3600" dirty="0" smtClean="0"/>
              <a:t>EDDMapS Pro</a:t>
            </a:r>
            <a:endParaRPr lang="en-US" sz="36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31136" y="269367"/>
            <a:ext cx="7729728" cy="816483"/>
          </a:xfrm>
        </p:spPr>
        <p:txBody>
          <a:bodyPr>
            <a:normAutofit/>
          </a:bodyPr>
          <a:lstStyle/>
          <a:p>
            <a:r>
              <a:rPr lang="en-US" dirty="0" smtClean="0"/>
              <a:t>The Two Op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124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39997" y="330652"/>
            <a:ext cx="3512005" cy="6243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59676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20013" y="0"/>
            <a:ext cx="340378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3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61919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1499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29375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1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62329" y="0"/>
            <a:ext cx="277471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366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80969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7213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141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0238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059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40488" y="635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0488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70735" y="0"/>
            <a:ext cx="270710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3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54775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37287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90713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07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79381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338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4251" y="2097691"/>
            <a:ext cx="6657749" cy="375799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7554" y="1824371"/>
            <a:ext cx="6734446" cy="47603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1136" y="250317"/>
            <a:ext cx="7729728" cy="1188720"/>
          </a:xfrm>
        </p:spPr>
        <p:txBody>
          <a:bodyPr/>
          <a:lstStyle/>
          <a:p>
            <a:r>
              <a:rPr lang="en-US" dirty="0" smtClean="0"/>
              <a:t>Elevator Pitch of EDDMap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609600" y="1771651"/>
            <a:ext cx="5244083" cy="4410074"/>
          </a:xfrm>
        </p:spPr>
        <p:txBody>
          <a:bodyPr>
            <a:normAutofit/>
          </a:bodyPr>
          <a:lstStyle/>
          <a:p>
            <a:r>
              <a:rPr lang="en-US" sz="2800" dirty="0"/>
              <a:t>Data Collection </a:t>
            </a:r>
            <a:r>
              <a:rPr lang="en-US" sz="2800" dirty="0" smtClean="0"/>
              <a:t>Tools</a:t>
            </a:r>
          </a:p>
          <a:p>
            <a:r>
              <a:rPr lang="en-US" sz="2800" dirty="0" smtClean="0"/>
              <a:t>Data Verification Process</a:t>
            </a:r>
          </a:p>
          <a:p>
            <a:r>
              <a:rPr lang="en-US" sz="2800" dirty="0" smtClean="0"/>
              <a:t>Species Information</a:t>
            </a:r>
          </a:p>
          <a:p>
            <a:r>
              <a:rPr lang="en-US" sz="2800" dirty="0" smtClean="0"/>
              <a:t>Maps (State, County, Point)</a:t>
            </a:r>
          </a:p>
          <a:p>
            <a:r>
              <a:rPr lang="en-US" sz="2800" dirty="0" smtClean="0"/>
              <a:t>Data Available for Download</a:t>
            </a:r>
          </a:p>
          <a:p>
            <a:pPr lvl="1"/>
            <a:r>
              <a:rPr lang="en-US" sz="2400" dirty="0" smtClean="0"/>
              <a:t>Reports</a:t>
            </a:r>
          </a:p>
          <a:p>
            <a:pPr lvl="1"/>
            <a:r>
              <a:rPr lang="en-US" sz="2400" dirty="0" smtClean="0"/>
              <a:t>Reuse/Analysis</a:t>
            </a:r>
            <a:endParaRPr lang="en-US" sz="24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0500" y="1608439"/>
            <a:ext cx="2819400" cy="5012267"/>
          </a:xfr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3676" y="1605491"/>
            <a:ext cx="5118976" cy="507072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330" y="1894714"/>
            <a:ext cx="6267668" cy="461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70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69158" y="0"/>
            <a:ext cx="297375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33344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02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40488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51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49438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783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1828800" y="1905000"/>
            <a:ext cx="8474516" cy="6096000"/>
            <a:chOff x="533400" y="1400183"/>
            <a:chExt cx="8474516" cy="6096000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3400" y="1400183"/>
              <a:ext cx="8474516" cy="6096000"/>
            </a:xfrm>
            <a:prstGeom prst="rect">
              <a:avLst/>
            </a:prstGeom>
            <a:scene3d>
              <a:camera prst="isometricOffAxis1Top"/>
              <a:lightRig rig="threePt" dir="t"/>
            </a:scene3d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57600" y="1524000"/>
              <a:ext cx="3733800" cy="3100381"/>
            </a:xfrm>
            <a:prstGeom prst="rect">
              <a:avLst/>
            </a:prstGeom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7400" y="400080"/>
            <a:ext cx="8153400" cy="1443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5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19274" y="269877"/>
            <a:ext cx="8553450" cy="1040320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Select area on web - Count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1839" y="1636510"/>
            <a:ext cx="8788320" cy="4874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56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9701" y="0"/>
            <a:ext cx="3857625" cy="6858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35788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2318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3575" y="393702"/>
            <a:ext cx="8324850" cy="840822"/>
          </a:xfrm>
        </p:spPr>
        <p:txBody>
          <a:bodyPr>
            <a:normAutofit fontScale="90000"/>
          </a:bodyPr>
          <a:lstStyle/>
          <a:p>
            <a:r>
              <a:rPr lang="en-US" dirty="0"/>
              <a:t>Download selected </a:t>
            </a:r>
            <a:r>
              <a:rPr lang="en-US" dirty="0" smtClean="0"/>
              <a:t>data in EDDMapS Pro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6096000" y="1417638"/>
            <a:ext cx="5181600" cy="2392362"/>
            <a:chOff x="2057400" y="1417638"/>
            <a:chExt cx="5181600" cy="2392362"/>
          </a:xfrm>
        </p:grpSpPr>
        <p:sp>
          <p:nvSpPr>
            <p:cNvPr id="4" name="Cloud 3"/>
            <p:cNvSpPr/>
            <p:nvPr/>
          </p:nvSpPr>
          <p:spPr>
            <a:xfrm>
              <a:off x="2057400" y="1417638"/>
              <a:ext cx="5181600" cy="2392362"/>
            </a:xfrm>
            <a:prstGeom prst="cloud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30500" y="1855788"/>
              <a:ext cx="3759200" cy="1409700"/>
            </a:xfrm>
            <a:prstGeom prst="rect">
              <a:avLst/>
            </a:prstGeom>
          </p:spPr>
        </p:pic>
      </p:grpSp>
      <p:cxnSp>
        <p:nvCxnSpPr>
          <p:cNvPr id="10" name="Elbow Connector 9"/>
          <p:cNvCxnSpPr>
            <a:stCxn id="4" idx="1"/>
          </p:cNvCxnSpPr>
          <p:nvPr/>
        </p:nvCxnSpPr>
        <p:spPr>
          <a:xfrm rot="5400000">
            <a:off x="6956739" y="3061014"/>
            <a:ext cx="983622" cy="2476500"/>
          </a:xfrm>
          <a:prstGeom prst="bentConnector2">
            <a:avLst/>
          </a:prstGeom>
          <a:ln w="1270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9666" y="1600200"/>
            <a:ext cx="2903934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955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01" y="6096"/>
            <a:ext cx="3857625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5576" y="0"/>
            <a:ext cx="38576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410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1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26288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5388" y="0"/>
            <a:ext cx="38576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74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40488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51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49438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7252" y="5581291"/>
            <a:ext cx="19236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OS does not have Freeform o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882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239" y="0"/>
            <a:ext cx="1916171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45" y="0"/>
            <a:ext cx="2635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000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4000" dirty="0" smtClean="0"/>
              <a:t>Sources of EDDMapS Data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sz="2000" dirty="0"/>
              <a:t>USDA NRCS PLANTS Database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/>
              <a:t>Biota of North America Program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/>
              <a:t>Flora of North America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 smtClean="0"/>
              <a:t>Invasive </a:t>
            </a:r>
            <a:r>
              <a:rPr lang="en-US" sz="2000" dirty="0"/>
              <a:t>Plant Atlas of </a:t>
            </a:r>
            <a:r>
              <a:rPr lang="en-US" sz="2000" dirty="0" err="1" smtClean="0"/>
              <a:t>MidSouth</a:t>
            </a:r>
            <a:endParaRPr lang="en-US" sz="2000" dirty="0" smtClean="0"/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 smtClean="0"/>
              <a:t>Herbaria/Museums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 smtClean="0"/>
              <a:t>Global </a:t>
            </a:r>
            <a:r>
              <a:rPr lang="en-US" sz="2000" dirty="0"/>
              <a:t>Invasive Species Information Network </a:t>
            </a:r>
          </a:p>
          <a:p>
            <a:pPr>
              <a:buFont typeface="Wingdings" pitchFamily="2" charset="2"/>
              <a:buChar char="§"/>
              <a:defRPr/>
            </a:pPr>
            <a:endParaRPr lang="en-US" sz="2000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sz="2000" dirty="0" smtClean="0"/>
              <a:t>Nonindigenous </a:t>
            </a:r>
            <a:r>
              <a:rPr lang="en-US" sz="2000" dirty="0"/>
              <a:t>Aquatic Species </a:t>
            </a:r>
            <a:endParaRPr lang="fr-FR" sz="2000" dirty="0"/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/>
              <a:t>Federal Agency </a:t>
            </a:r>
            <a:r>
              <a:rPr lang="en-US" sz="2000" dirty="0" smtClean="0"/>
              <a:t>Databases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 smtClean="0"/>
              <a:t>State Agencies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 smtClean="0"/>
              <a:t>Regional Programs</a:t>
            </a:r>
            <a:endParaRPr lang="en-US" sz="2000" dirty="0"/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 smtClean="0"/>
              <a:t>Academic Institutions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 smtClean="0"/>
              <a:t>Trained Citizen Scientists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 smtClean="0"/>
              <a:t>Homeowner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2416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40488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51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49438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434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37" y="0"/>
            <a:ext cx="3857625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043" y="0"/>
            <a:ext cx="3857625" cy="6858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50" y="0"/>
            <a:ext cx="38576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35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87413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24635" y="0"/>
            <a:ext cx="3857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Bent-Up Arrow 28"/>
          <p:cNvSpPr/>
          <p:nvPr/>
        </p:nvSpPr>
        <p:spPr>
          <a:xfrm flipH="1">
            <a:off x="8349818" y="3727491"/>
            <a:ext cx="1189398" cy="1287115"/>
          </a:xfrm>
          <a:prstGeom prst="bentUpArrow">
            <a:avLst>
              <a:gd name="adj1" fmla="val 21963"/>
              <a:gd name="adj2" fmla="val 20950"/>
              <a:gd name="adj3" fmla="val 2024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9696450" y="4672561"/>
            <a:ext cx="24955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Refresh/Sync data set on phon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6405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1136" y="428658"/>
            <a:ext cx="7729728" cy="1188720"/>
          </a:xfrm>
        </p:spPr>
        <p:txBody>
          <a:bodyPr/>
          <a:lstStyle/>
          <a:p>
            <a:r>
              <a:rPr lang="en-US" dirty="0" smtClean="0"/>
              <a:t>Is EDDMapS Pro being used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31136" y="2033752"/>
            <a:ext cx="7729728" cy="3706275"/>
          </a:xfrm>
        </p:spPr>
        <p:txBody>
          <a:bodyPr>
            <a:normAutofit/>
          </a:bodyPr>
          <a:lstStyle/>
          <a:p>
            <a:r>
              <a:rPr lang="en-US" sz="2400" dirty="0" smtClean="0"/>
              <a:t>Downloads – 9,045</a:t>
            </a:r>
          </a:p>
          <a:p>
            <a:pPr lvl="1"/>
            <a:r>
              <a:rPr lang="en-US" sz="2200" dirty="0" smtClean="0"/>
              <a:t>iOS – 7,778</a:t>
            </a:r>
          </a:p>
          <a:p>
            <a:pPr lvl="1"/>
            <a:r>
              <a:rPr lang="en-US" sz="2200" dirty="0" smtClean="0"/>
              <a:t>Android – 1,267</a:t>
            </a:r>
          </a:p>
          <a:p>
            <a:r>
              <a:rPr lang="en-US" sz="2400" dirty="0" smtClean="0"/>
              <a:t>States – 19</a:t>
            </a:r>
          </a:p>
          <a:p>
            <a:r>
              <a:rPr lang="en-US" sz="2400" dirty="0" smtClean="0"/>
              <a:t>Original Reports – 2,746</a:t>
            </a:r>
          </a:p>
          <a:p>
            <a:r>
              <a:rPr lang="en-US" sz="2400" dirty="0" smtClean="0"/>
              <a:t>Revisits – 3,809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8349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1136" y="139192"/>
            <a:ext cx="7729728" cy="1188720"/>
          </a:xfrm>
        </p:spPr>
        <p:txBody>
          <a:bodyPr/>
          <a:lstStyle/>
          <a:p>
            <a:r>
              <a:rPr lang="en-US" dirty="0"/>
              <a:t>Observations + Revisits </a:t>
            </a:r>
            <a:br>
              <a:rPr lang="en-US" dirty="0"/>
            </a:br>
            <a:r>
              <a:rPr lang="en-US" dirty="0"/>
              <a:t>Sent to EDDMapS By Year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0485485"/>
              </p:ext>
            </p:extLst>
          </p:nvPr>
        </p:nvGraphicFramePr>
        <p:xfrm>
          <a:off x="622300" y="1606550"/>
          <a:ext cx="10960100" cy="4800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607299" y="5095790"/>
            <a:ext cx="5756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867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7659687" y="4006849"/>
            <a:ext cx="4480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34</a:t>
            </a:r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7614747" y="2204157"/>
            <a:ext cx="6470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714</a:t>
            </a:r>
            <a:endParaRPr lang="en-US" sz="2000" dirty="0"/>
          </a:p>
        </p:txBody>
      </p:sp>
      <p:sp>
        <p:nvSpPr>
          <p:cNvPr id="10" name="TextBox 9"/>
          <p:cNvSpPr txBox="1"/>
          <p:nvPr/>
        </p:nvSpPr>
        <p:spPr>
          <a:xfrm>
            <a:off x="8989218" y="5095790"/>
            <a:ext cx="717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1324</a:t>
            </a:r>
            <a:endParaRPr lang="en-US" sz="2000" dirty="0"/>
          </a:p>
        </p:txBody>
      </p:sp>
      <p:sp>
        <p:nvSpPr>
          <p:cNvPr id="11" name="TextBox 10"/>
          <p:cNvSpPr txBox="1"/>
          <p:nvPr/>
        </p:nvSpPr>
        <p:spPr>
          <a:xfrm>
            <a:off x="8941594" y="4006849"/>
            <a:ext cx="7653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1086</a:t>
            </a:r>
            <a:endParaRPr lang="en-US" sz="2000" dirty="0"/>
          </a:p>
        </p:txBody>
      </p:sp>
      <p:sp>
        <p:nvSpPr>
          <p:cNvPr id="12" name="TextBox 11"/>
          <p:cNvSpPr txBox="1"/>
          <p:nvPr/>
        </p:nvSpPr>
        <p:spPr>
          <a:xfrm>
            <a:off x="9096706" y="2728871"/>
            <a:ext cx="501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15</a:t>
            </a:r>
            <a:endParaRPr lang="en-US" sz="2000" dirty="0"/>
          </a:p>
        </p:txBody>
      </p:sp>
      <p:sp>
        <p:nvSpPr>
          <p:cNvPr id="13" name="TextBox 12"/>
          <p:cNvSpPr txBox="1"/>
          <p:nvPr/>
        </p:nvSpPr>
        <p:spPr>
          <a:xfrm>
            <a:off x="10460037" y="5095790"/>
            <a:ext cx="6672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629</a:t>
            </a:r>
            <a:endParaRPr lang="en-US" sz="2000" dirty="0"/>
          </a:p>
        </p:txBody>
      </p:sp>
      <p:sp>
        <p:nvSpPr>
          <p:cNvPr id="14" name="TextBox 13"/>
          <p:cNvSpPr txBox="1"/>
          <p:nvPr/>
        </p:nvSpPr>
        <p:spPr>
          <a:xfrm>
            <a:off x="10373713" y="4208951"/>
            <a:ext cx="775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1862</a:t>
            </a:r>
            <a:endParaRPr lang="en-US" sz="2000" dirty="0"/>
          </a:p>
        </p:txBody>
      </p:sp>
      <p:sp>
        <p:nvSpPr>
          <p:cNvPr id="15" name="TextBox 14"/>
          <p:cNvSpPr txBox="1"/>
          <p:nvPr/>
        </p:nvSpPr>
        <p:spPr>
          <a:xfrm>
            <a:off x="10436773" y="3290580"/>
            <a:ext cx="6042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329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3675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1136" y="370332"/>
            <a:ext cx="7729728" cy="1188720"/>
          </a:xfrm>
        </p:spPr>
        <p:txBody>
          <a:bodyPr/>
          <a:lstStyle/>
          <a:p>
            <a:r>
              <a:rPr lang="en-US" dirty="0" smtClean="0"/>
              <a:t>Which App is best for my program?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15727864"/>
              </p:ext>
            </p:extLst>
          </p:nvPr>
        </p:nvGraphicFramePr>
        <p:xfrm>
          <a:off x="599091" y="2055257"/>
          <a:ext cx="10972800" cy="3638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46105" y="2067076"/>
            <a:ext cx="1500188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rimary User Audienc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448936" y="2081861"/>
            <a:ext cx="148590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dentification Skill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554304" y="1806601"/>
            <a:ext cx="1495425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dividual’s Responsibility for Site</a:t>
            </a:r>
            <a:endParaRPr lang="en-US" dirty="0"/>
          </a:p>
        </p:txBody>
      </p:sp>
      <p:graphicFrame>
        <p:nvGraphicFramePr>
          <p:cNvPr id="9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1159694"/>
              </p:ext>
            </p:extLst>
          </p:nvPr>
        </p:nvGraphicFramePr>
        <p:xfrm>
          <a:off x="599091" y="3872389"/>
          <a:ext cx="10972800" cy="3638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7800690" y="2067834"/>
            <a:ext cx="1214188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ell Reception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9578168" y="2098384"/>
            <a:ext cx="1850232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pp Recommend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98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802" name="Title 1"/>
          <p:cNvSpPr>
            <a:spLocks noGrp="1"/>
          </p:cNvSpPr>
          <p:nvPr>
            <p:ph type="title"/>
          </p:nvPr>
        </p:nvSpPr>
        <p:spPr>
          <a:xfrm>
            <a:off x="2190089" y="156753"/>
            <a:ext cx="7729728" cy="1188720"/>
          </a:xfrm>
        </p:spPr>
        <p:txBody>
          <a:bodyPr/>
          <a:lstStyle/>
          <a:p>
            <a:r>
              <a:rPr lang="en-US" dirty="0" smtClean="0"/>
              <a:t>Acknowledgements</a:t>
            </a:r>
            <a:endParaRPr lang="en-US" dirty="0"/>
          </a:p>
        </p:txBody>
      </p:sp>
      <p:grpSp>
        <p:nvGrpSpPr>
          <p:cNvPr id="588804" name="Group 7"/>
          <p:cNvGrpSpPr>
            <a:grpSpLocks/>
          </p:cNvGrpSpPr>
          <p:nvPr/>
        </p:nvGrpSpPr>
        <p:grpSpPr bwMode="auto">
          <a:xfrm>
            <a:off x="2382057" y="1390650"/>
            <a:ext cx="5156200" cy="1833562"/>
            <a:chOff x="533400" y="1935163"/>
            <a:chExt cx="7985125" cy="2819400"/>
          </a:xfrm>
        </p:grpSpPr>
        <p:pic>
          <p:nvPicPr>
            <p:cNvPr id="588808" name="Picture 2" descr="W:\bugwood\center\logos\gif\usfws.gif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2011363"/>
              <a:ext cx="2297112" cy="2743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8809" name="Picture 5" descr="W:\bugwood\center\logos\gif\nps.gif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4413" y="1935163"/>
              <a:ext cx="2108200" cy="2743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8810" name="Picture 10" descr="USFS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2011363"/>
              <a:ext cx="2586038" cy="2743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88805" name="Picture 9" descr="United_States_Army_Corps_of_Engineers_logo.sv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92590" y="1390650"/>
            <a:ext cx="2154237" cy="163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8806" name="Picture 10" descr="NIFA.jpe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5127" y="3388727"/>
            <a:ext cx="2066925" cy="163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8807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3015" y="3355390"/>
            <a:ext cx="1524000" cy="170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logo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6340" y="3326037"/>
            <a:ext cx="1646179" cy="1829088"/>
          </a:xfrm>
          <a:prstGeom prst="rect">
            <a:avLst/>
          </a:prstGeom>
        </p:spPr>
      </p:pic>
      <p:pic>
        <p:nvPicPr>
          <p:cNvPr id="4" name="Picture 3" descr="header.gif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719" r="24702"/>
          <a:stretch/>
        </p:blipFill>
        <p:spPr>
          <a:xfrm>
            <a:off x="5307015" y="3293332"/>
            <a:ext cx="1663680" cy="1829089"/>
          </a:xfrm>
          <a:prstGeom prst="rect">
            <a:avLst/>
          </a:prstGeom>
        </p:spPr>
      </p:pic>
      <p:pic>
        <p:nvPicPr>
          <p:cNvPr id="5" name="Picture 4" descr="logo-nature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1421" y="5572170"/>
            <a:ext cx="2491383" cy="955477"/>
          </a:xfrm>
          <a:prstGeom prst="rect">
            <a:avLst/>
          </a:prstGeom>
        </p:spPr>
      </p:pic>
      <p:pic>
        <p:nvPicPr>
          <p:cNvPr id="6" name="Picture 5" descr="OFAH.jp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0005" y="5400408"/>
            <a:ext cx="1540254" cy="113028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9707" y="3400987"/>
            <a:ext cx="1317515" cy="170099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2452" y="5311718"/>
            <a:ext cx="1764919" cy="12159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46476" y="5453800"/>
            <a:ext cx="2130984" cy="1023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61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073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/>
              <a:t>Thanks!</a:t>
            </a:r>
            <a:endParaRPr lang="en-US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altLang="en-US" sz="2400" dirty="0" smtClean="0"/>
              <a:t>Rebekah Wallace</a:t>
            </a:r>
          </a:p>
          <a:p>
            <a:pPr marL="0" indent="0">
              <a:buNone/>
            </a:pPr>
            <a:r>
              <a:rPr lang="en-US" altLang="en-US" sz="2400" dirty="0"/>
              <a:t>EDDMapS Data Coordinator</a:t>
            </a:r>
          </a:p>
          <a:p>
            <a:pPr marL="0" indent="0">
              <a:buNone/>
            </a:pPr>
            <a:endParaRPr lang="en-US" altLang="en-US" sz="2400" dirty="0"/>
          </a:p>
          <a:p>
            <a:pPr marL="0" indent="0">
              <a:buNone/>
            </a:pPr>
            <a:r>
              <a:rPr lang="en-US" altLang="en-US" sz="2400" dirty="0"/>
              <a:t>Center for Invasive Species &amp; Ecosystem Health </a:t>
            </a:r>
          </a:p>
          <a:p>
            <a:pPr marL="0" indent="0">
              <a:buNone/>
            </a:pPr>
            <a:r>
              <a:rPr lang="en-US" altLang="en-US" sz="2400" dirty="0"/>
              <a:t>University of Georgia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en-US" sz="2800" dirty="0"/>
              <a:t>www.eddmaps.org</a:t>
            </a:r>
            <a:br>
              <a:rPr lang="en-US" altLang="en-US" sz="2800" dirty="0"/>
            </a:br>
            <a:r>
              <a:rPr lang="en-US" altLang="en-US" sz="2800" dirty="0"/>
              <a:t>apps.bugwood.org</a:t>
            </a:r>
            <a:br>
              <a:rPr lang="en-US" altLang="en-US" sz="2800" dirty="0"/>
            </a:br>
            <a:r>
              <a:rPr lang="en-US" altLang="en-US" sz="2800" dirty="0" smtClean="0"/>
              <a:t>www.bugwood.org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15745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21" name="Title 1"/>
          <p:cNvSpPr>
            <a:spLocks noGrp="1"/>
          </p:cNvSpPr>
          <p:nvPr>
            <p:ph type="title"/>
          </p:nvPr>
        </p:nvSpPr>
        <p:spPr>
          <a:xfrm>
            <a:off x="2231136" y="221742"/>
            <a:ext cx="7729728" cy="1188720"/>
          </a:xfrm>
        </p:spPr>
        <p:txBody>
          <a:bodyPr/>
          <a:lstStyle/>
          <a:p>
            <a:r>
              <a:rPr lang="en-US" dirty="0" smtClean="0"/>
              <a:t>Aggregated Distribution Maps</a:t>
            </a:r>
            <a:endParaRPr lang="en-US" dirty="0"/>
          </a:p>
        </p:txBody>
      </p:sp>
      <p:sp>
        <p:nvSpPr>
          <p:cNvPr id="337923" name="Text Placeholder 3"/>
          <p:cNvSpPr>
            <a:spLocks noGrp="1"/>
          </p:cNvSpPr>
          <p:nvPr>
            <p:ph idx="1"/>
          </p:nvPr>
        </p:nvSpPr>
        <p:spPr>
          <a:xfrm>
            <a:off x="190500" y="5870575"/>
            <a:ext cx="5676900" cy="987425"/>
          </a:xfrm>
        </p:spPr>
        <p:txBody>
          <a:bodyPr/>
          <a:lstStyle/>
          <a:p>
            <a:pPr marL="0" indent="0" algn="ctr">
              <a:buNone/>
            </a:pPr>
            <a:r>
              <a:rPr lang="en-US" sz="2000" dirty="0"/>
              <a:t>Japanese Honeysuckle Distribution in Georgia from </a:t>
            </a:r>
          </a:p>
          <a:p>
            <a:pPr marL="0" indent="0" algn="ctr">
              <a:buNone/>
            </a:pPr>
            <a:r>
              <a:rPr lang="en-US" sz="2000" dirty="0"/>
              <a:t>USDA PLANTS Database – </a:t>
            </a:r>
            <a:r>
              <a:rPr lang="en-US" sz="2000" dirty="0" smtClean="0"/>
              <a:t>March 2019</a:t>
            </a:r>
            <a:endParaRPr lang="en-US" sz="2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9238" y="1679574"/>
            <a:ext cx="3637123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755" y="1679575"/>
            <a:ext cx="5040389" cy="4191000"/>
          </a:xfrm>
          <a:prstGeom prst="rect">
            <a:avLst/>
          </a:prstGeom>
        </p:spPr>
      </p:pic>
      <p:sp>
        <p:nvSpPr>
          <p:cNvPr id="11" name="Text Placeholder 3"/>
          <p:cNvSpPr txBox="1">
            <a:spLocks/>
          </p:cNvSpPr>
          <p:nvPr/>
        </p:nvSpPr>
        <p:spPr>
          <a:xfrm>
            <a:off x="6229350" y="5870574"/>
            <a:ext cx="5676900" cy="987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 smtClean="0"/>
              <a:t>Japanese Honeysuckle Distribution in Georgia from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 smtClean="0"/>
              <a:t>EDDMapS Database – March 2019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0167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3350">
        <p:fade/>
      </p:transition>
    </mc:Choice>
    <mc:Fallback xmlns="">
      <p:transition spd="med" advTm="2335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2438400"/>
            <a:ext cx="8991600" cy="1984789"/>
          </a:xfrm>
        </p:spPr>
        <p:txBody>
          <a:bodyPr>
            <a:noAutofit/>
          </a:bodyPr>
          <a:lstStyle/>
          <a:p>
            <a:r>
              <a:rPr lang="en-US" sz="7200" dirty="0"/>
              <a:t>Why Smartphones?</a:t>
            </a:r>
          </a:p>
        </p:txBody>
      </p:sp>
    </p:spTree>
    <p:extLst>
      <p:ext uri="{BB962C8B-B14F-4D97-AF65-F5344CB8AC3E}">
        <p14:creationId xmlns:p14="http://schemas.microsoft.com/office/powerpoint/2010/main" val="2031629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1136" y="297942"/>
            <a:ext cx="7729728" cy="1188720"/>
          </a:xfrm>
        </p:spPr>
        <p:txBody>
          <a:bodyPr/>
          <a:lstStyle/>
          <a:p>
            <a:r>
              <a:rPr lang="en-US" dirty="0" smtClean="0"/>
              <a:t>Traditional Data collection</a:t>
            </a:r>
            <a:endParaRPr lang="en-US" dirty="0"/>
          </a:p>
        </p:txBody>
      </p:sp>
      <p:pic>
        <p:nvPicPr>
          <p:cNvPr id="519169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350" y="2295425"/>
            <a:ext cx="4889764" cy="3667324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6057901" y="1628775"/>
            <a:ext cx="5476874" cy="5000625"/>
          </a:xfrm>
        </p:spPr>
        <p:txBody>
          <a:bodyPr>
            <a:noAutofit/>
          </a:bodyPr>
          <a:lstStyle/>
          <a:p>
            <a:r>
              <a:rPr lang="en-US" sz="2400" dirty="0" smtClean="0"/>
              <a:t>Paper and Pencil (and GPS device, camera, etc.)</a:t>
            </a:r>
          </a:p>
          <a:p>
            <a:pPr lvl="1"/>
            <a:r>
              <a:rPr lang="en-US" sz="2000" dirty="0" smtClean="0"/>
              <a:t>Error Prone</a:t>
            </a:r>
          </a:p>
          <a:p>
            <a:pPr lvl="2"/>
            <a:r>
              <a:rPr lang="en-US" sz="2000" dirty="0" smtClean="0"/>
              <a:t>Initial transcription error (e.g., GPS coordinates, quantifications, date, etc.)</a:t>
            </a:r>
          </a:p>
          <a:p>
            <a:pPr lvl="2"/>
            <a:r>
              <a:rPr lang="en-US" sz="2000" dirty="0" smtClean="0"/>
              <a:t>Transcription to database</a:t>
            </a:r>
          </a:p>
          <a:p>
            <a:pPr lvl="1"/>
            <a:r>
              <a:rPr lang="en-US" sz="2000" dirty="0" smtClean="0"/>
              <a:t>Costly (long term)</a:t>
            </a:r>
          </a:p>
          <a:p>
            <a:pPr lvl="2"/>
            <a:r>
              <a:rPr lang="en-US" sz="2000" dirty="0" smtClean="0"/>
              <a:t>Transcription cost</a:t>
            </a:r>
          </a:p>
          <a:p>
            <a:pPr lvl="2"/>
            <a:r>
              <a:rPr lang="en-US" sz="2000" dirty="0" smtClean="0"/>
              <a:t>Data Cleaning</a:t>
            </a:r>
          </a:p>
          <a:p>
            <a:pPr lvl="2"/>
            <a:r>
              <a:rPr lang="en-US" sz="2000" dirty="0" smtClean="0"/>
              <a:t>Retraining</a:t>
            </a:r>
          </a:p>
          <a:p>
            <a:pPr lvl="1"/>
            <a:r>
              <a:rPr lang="en-US" sz="2000" dirty="0" smtClean="0"/>
              <a:t>Standardization – dependent on recorder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2876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1136" y="297942"/>
            <a:ext cx="7729728" cy="1188720"/>
          </a:xfrm>
        </p:spPr>
        <p:txBody>
          <a:bodyPr/>
          <a:lstStyle/>
          <a:p>
            <a:r>
              <a:rPr lang="en-US" dirty="0" smtClean="0"/>
              <a:t>Electronic Data Collection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150" y="1743076"/>
            <a:ext cx="3643025" cy="4854978"/>
          </a:xfrm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3625" y="1743077"/>
            <a:ext cx="5410200" cy="4895848"/>
          </a:xfrm>
        </p:spPr>
        <p:txBody>
          <a:bodyPr>
            <a:noAutofit/>
          </a:bodyPr>
          <a:lstStyle/>
          <a:p>
            <a:r>
              <a:rPr lang="en-US" sz="2400" dirty="0" smtClean="0"/>
              <a:t>Tablet/Smartphone into a form/app</a:t>
            </a:r>
          </a:p>
          <a:p>
            <a:pPr lvl="1"/>
            <a:r>
              <a:rPr lang="en-US" sz="2000" dirty="0" smtClean="0"/>
              <a:t>Design/Programming can prevent most errors</a:t>
            </a:r>
          </a:p>
          <a:p>
            <a:pPr lvl="2"/>
            <a:r>
              <a:rPr lang="en-US" sz="2000" dirty="0" smtClean="0"/>
              <a:t>Contradictory info not able to be entered</a:t>
            </a:r>
          </a:p>
          <a:p>
            <a:pPr lvl="2"/>
            <a:r>
              <a:rPr lang="en-US" sz="2000" dirty="0" smtClean="0"/>
              <a:t>Auto-capturing some data (e.g., date, location, etc.)</a:t>
            </a:r>
          </a:p>
          <a:p>
            <a:pPr lvl="1"/>
            <a:r>
              <a:rPr lang="en-US" sz="2000" dirty="0" smtClean="0"/>
              <a:t>Training – high acceptability after training</a:t>
            </a:r>
          </a:p>
          <a:p>
            <a:pPr lvl="1"/>
            <a:r>
              <a:rPr lang="en-US" sz="2000" dirty="0" smtClean="0"/>
              <a:t>Standardization</a:t>
            </a:r>
          </a:p>
          <a:p>
            <a:pPr lvl="1"/>
            <a:r>
              <a:rPr lang="en-US" sz="2000" dirty="0" smtClean="0"/>
              <a:t>Metadata</a:t>
            </a:r>
          </a:p>
          <a:p>
            <a:pPr lvl="1"/>
            <a:r>
              <a:rPr lang="en-US" sz="2000" dirty="0" smtClean="0"/>
              <a:t>Data sharing/accessibility/analysi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0434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1136" y="259842"/>
            <a:ext cx="7729728" cy="1188720"/>
          </a:xfrm>
        </p:spPr>
        <p:txBody>
          <a:bodyPr/>
          <a:lstStyle/>
          <a:p>
            <a:r>
              <a:rPr lang="en-US" dirty="0" smtClean="0"/>
              <a:t>Cellphone Adoption Over Time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3349191"/>
              </p:ext>
            </p:extLst>
          </p:nvPr>
        </p:nvGraphicFramePr>
        <p:xfrm>
          <a:off x="609600" y="1666875"/>
          <a:ext cx="10982325" cy="451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38150" y="6524625"/>
            <a:ext cx="10934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ew Research Center: </a:t>
            </a:r>
            <a:r>
              <a:rPr lang="en-US" dirty="0"/>
              <a:t>Surveys conducted 2002-2018 https://www.pewinternet.org/fact-sheet/mobile/</a:t>
            </a:r>
          </a:p>
        </p:txBody>
      </p:sp>
    </p:spTree>
    <p:extLst>
      <p:ext uri="{BB962C8B-B14F-4D97-AF65-F5344CB8AC3E}">
        <p14:creationId xmlns:p14="http://schemas.microsoft.com/office/powerpoint/2010/main" val="331298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3|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30</TotalTime>
  <Words>598</Words>
  <Application>Microsoft Office PowerPoint</Application>
  <PresentationFormat>Widescreen</PresentationFormat>
  <Paragraphs>172</Paragraphs>
  <Slides>47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7</vt:i4>
      </vt:variant>
    </vt:vector>
  </HeadingPairs>
  <TitlesOfParts>
    <vt:vector size="58" baseType="lpstr">
      <vt:lpstr>MS PGothic</vt:lpstr>
      <vt:lpstr>Arial</vt:lpstr>
      <vt:lpstr>Calibri</vt:lpstr>
      <vt:lpstr>Calibri Light</vt:lpstr>
      <vt:lpstr>Georgia</vt:lpstr>
      <vt:lpstr>Gill Sans MT</vt:lpstr>
      <vt:lpstr>Helvetica Neue Bold Condensed</vt:lpstr>
      <vt:lpstr>Wingdings</vt:lpstr>
      <vt:lpstr>13_Office Theme</vt:lpstr>
      <vt:lpstr>15_Office Theme</vt:lpstr>
      <vt:lpstr>Parcel</vt:lpstr>
      <vt:lpstr>EDDMapS Pro – Is this invasive species mapping tool right for your program?</vt:lpstr>
      <vt:lpstr>PowerPoint Presentation</vt:lpstr>
      <vt:lpstr>Elevator Pitch of EDDMapS</vt:lpstr>
      <vt:lpstr>Sources of EDDMapS Data</vt:lpstr>
      <vt:lpstr>Aggregated Distribution Maps</vt:lpstr>
      <vt:lpstr>Why Smartphones?</vt:lpstr>
      <vt:lpstr>Traditional Data collection</vt:lpstr>
      <vt:lpstr>Electronic Data Collection</vt:lpstr>
      <vt:lpstr>Cellphone Adoption Over Time</vt:lpstr>
      <vt:lpstr>Smartphones are Not just for “the Kids”</vt:lpstr>
      <vt:lpstr>PowerPoint Presentation</vt:lpstr>
      <vt:lpstr>PowerPoint Presentation</vt:lpstr>
      <vt:lpstr>How Does It Work?</vt:lpstr>
      <vt:lpstr>PowerPoint Presentation</vt:lpstr>
      <vt:lpstr>PowerPoint Presentation</vt:lpstr>
      <vt:lpstr>PowerPoint Presentation</vt:lpstr>
      <vt:lpstr>Has It Worked?</vt:lpstr>
      <vt:lpstr>All App Downloads</vt:lpstr>
      <vt:lpstr>EDDMapS Florida Statistics</vt:lpstr>
      <vt:lpstr>EDDMapS Florida Statistics</vt:lpstr>
      <vt:lpstr>Observations Sent to EDDMapS By Year</vt:lpstr>
      <vt:lpstr>The Two Op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lect area on web - County</vt:lpstr>
      <vt:lpstr>PowerPoint Presentation</vt:lpstr>
      <vt:lpstr>Download selected data in EDDMapS Pr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s EDDMapS Pro being used?</vt:lpstr>
      <vt:lpstr>Observations + Revisits  Sent to EDDMapS By Year</vt:lpstr>
      <vt:lpstr>Which App is best for my program?</vt:lpstr>
      <vt:lpstr>Acknowledgements</vt:lpstr>
      <vt:lpstr>Thank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ES Bargeron</dc:creator>
  <cp:lastModifiedBy>Sean Bloom</cp:lastModifiedBy>
  <cp:revision>126</cp:revision>
  <dcterms:created xsi:type="dcterms:W3CDTF">2016-09-14T09:33:17Z</dcterms:created>
  <dcterms:modified xsi:type="dcterms:W3CDTF">2019-03-29T12:00:48Z</dcterms:modified>
</cp:coreProperties>
</file>